
<file path=[Content_Types].xml><?xml version="1.0" encoding="utf-8"?>
<Types xmlns="http://schemas.openxmlformats.org/package/2006/content-types">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webp" ContentType="image/webp"/>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9.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9" r:id="rId1"/>
  </p:sldMasterIdLst>
  <p:notesMasterIdLst>
    <p:notesMasterId r:id="rId20"/>
  </p:notesMasterIdLst>
  <p:sldIdLst>
    <p:sldId id="256" r:id="rId2"/>
    <p:sldId id="273" r:id="rId3"/>
    <p:sldId id="259" r:id="rId4"/>
    <p:sldId id="307" r:id="rId5"/>
    <p:sldId id="309" r:id="rId6"/>
    <p:sldId id="308" r:id="rId7"/>
    <p:sldId id="260" r:id="rId8"/>
    <p:sldId id="261" r:id="rId9"/>
    <p:sldId id="264" r:id="rId10"/>
    <p:sldId id="270" r:id="rId11"/>
    <p:sldId id="262" r:id="rId12"/>
    <p:sldId id="310" r:id="rId13"/>
    <p:sldId id="311" r:id="rId14"/>
    <p:sldId id="312" r:id="rId15"/>
    <p:sldId id="313" r:id="rId16"/>
    <p:sldId id="314" r:id="rId17"/>
    <p:sldId id="317" r:id="rId18"/>
    <p:sldId id="318" r:id="rId19"/>
  </p:sldIdLst>
  <p:sldSz cx="9144000" cy="5143500" type="screen16x9"/>
  <p:notesSz cx="6858000" cy="9144000"/>
  <p:embeddedFontLst>
    <p:embeddedFont>
      <p:font typeface="Archivo Black" panose="020B0604020202020204" charset="0"/>
      <p:regular r:id="rId21"/>
    </p:embeddedFont>
    <p:embeddedFont>
      <p:font typeface="Libre Baskerville" panose="020B0604020202020204" charset="0"/>
      <p:regular r:id="rId22"/>
      <p:bold r:id="rId23"/>
      <p:italic r:id="rId24"/>
    </p:embeddedFont>
    <p:embeddedFont>
      <p:font typeface="Roboto" panose="02000000000000000000" pitchFamily="2" charset="0"/>
      <p:regular r:id="rId25"/>
      <p:bold r:id="rId26"/>
      <p:italic r:id="rId27"/>
      <p:boldItalic r:id="rId28"/>
    </p:embeddedFont>
    <p:embeddedFont>
      <p:font typeface="Roboto Black" panose="02000000000000000000" pitchFamily="2" charset="0"/>
      <p:bold r:id="rId29"/>
      <p:boldItalic r:id="rId30"/>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9AA0A6"/>
          </p15:clr>
        </p15:guide>
        <p15:guide id="2" pos="2880">
          <p15:clr>
            <a:srgbClr val="9AA0A6"/>
          </p15:clr>
        </p15:guide>
        <p15:guide id="3" orient="horz" pos="340">
          <p15:clr>
            <a:srgbClr val="9AA0A6"/>
          </p15:clr>
        </p15:guide>
        <p15:guide id="4" orient="horz" pos="2903">
          <p15:clr>
            <a:srgbClr val="9AA0A6"/>
          </p15:clr>
        </p15:guide>
        <p15:guide id="5" pos="455">
          <p15:clr>
            <a:srgbClr val="9AA0A6"/>
          </p15:clr>
        </p15:guide>
        <p15:guide id="6" pos="5311">
          <p15:clr>
            <a:srgbClr val="9AA0A6"/>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AE5C4"/>
    <a:srgbClr val="07090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A44A43B-B0CD-4163-82A1-32D53670EE3D}">
  <a:tblStyle styleId="{7A44A43B-B0CD-4163-82A1-32D53670EE3D}"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42" d="100"/>
          <a:sy n="142" d="100"/>
        </p:scale>
        <p:origin x="714" y="78"/>
      </p:cViewPr>
      <p:guideLst>
        <p:guide orient="horz" pos="1620"/>
        <p:guide pos="2880"/>
        <p:guide orient="horz" pos="340"/>
        <p:guide orient="horz" pos="2903"/>
        <p:guide pos="455"/>
        <p:guide pos="5311"/>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6.fntdata"/><Relationship Id="rId3" Type="http://schemas.openxmlformats.org/officeDocument/2006/relationships/slide" Target="slides/slide2.xml"/><Relationship Id="rId21" Type="http://schemas.openxmlformats.org/officeDocument/2006/relationships/font" Target="fonts/font1.fntdata"/><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5.fntdata"/><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29" Type="http://schemas.openxmlformats.org/officeDocument/2006/relationships/font" Target="fonts/font9.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4.fntdata"/><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3.fntdata"/><Relationship Id="rId28" Type="http://schemas.openxmlformats.org/officeDocument/2006/relationships/font" Target="fonts/font8.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font" Target="fonts/font10.fntdata"/><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5"/>
        <p:cNvGrpSpPr/>
        <p:nvPr/>
      </p:nvGrpSpPr>
      <p:grpSpPr>
        <a:xfrm>
          <a:off x="0" y="0"/>
          <a:ext cx="0" cy="0"/>
          <a:chOff x="0" y="0"/>
          <a:chExt cx="0" cy="0"/>
        </a:xfrm>
      </p:grpSpPr>
      <p:sp>
        <p:nvSpPr>
          <p:cNvPr id="556" name="Google Shape;556;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57" name="Google Shape;557;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4"/>
        <p:cNvGrpSpPr/>
        <p:nvPr/>
      </p:nvGrpSpPr>
      <p:grpSpPr>
        <a:xfrm>
          <a:off x="0" y="0"/>
          <a:ext cx="0" cy="0"/>
          <a:chOff x="0" y="0"/>
          <a:chExt cx="0" cy="0"/>
        </a:xfrm>
      </p:grpSpPr>
      <p:sp>
        <p:nvSpPr>
          <p:cNvPr id="995" name="Google Shape;995;gc44cf98deb_0_107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96" name="Google Shape;996;gc44cf98deb_0_107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8"/>
        <p:cNvGrpSpPr/>
        <p:nvPr/>
      </p:nvGrpSpPr>
      <p:grpSpPr>
        <a:xfrm>
          <a:off x="0" y="0"/>
          <a:ext cx="0" cy="0"/>
          <a:chOff x="0" y="0"/>
          <a:chExt cx="0" cy="0"/>
        </a:xfrm>
      </p:grpSpPr>
      <p:sp>
        <p:nvSpPr>
          <p:cNvPr id="799" name="Google Shape;799;gbee80388c8_0_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00" name="Google Shape;800;gbee80388c8_0_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8"/>
        <p:cNvGrpSpPr/>
        <p:nvPr/>
      </p:nvGrpSpPr>
      <p:grpSpPr>
        <a:xfrm>
          <a:off x="0" y="0"/>
          <a:ext cx="0" cy="0"/>
          <a:chOff x="0" y="0"/>
          <a:chExt cx="0" cy="0"/>
        </a:xfrm>
      </p:grpSpPr>
      <p:sp>
        <p:nvSpPr>
          <p:cNvPr id="799" name="Google Shape;799;gbee80388c8_0_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00" name="Google Shape;800;gbee80388c8_0_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286981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8"/>
        <p:cNvGrpSpPr/>
        <p:nvPr/>
      </p:nvGrpSpPr>
      <p:grpSpPr>
        <a:xfrm>
          <a:off x="0" y="0"/>
          <a:ext cx="0" cy="0"/>
          <a:chOff x="0" y="0"/>
          <a:chExt cx="0" cy="0"/>
        </a:xfrm>
      </p:grpSpPr>
      <p:sp>
        <p:nvSpPr>
          <p:cNvPr id="799" name="Google Shape;799;gbee80388c8_0_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00" name="Google Shape;800;gbee80388c8_0_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5822583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8"/>
        <p:cNvGrpSpPr/>
        <p:nvPr/>
      </p:nvGrpSpPr>
      <p:grpSpPr>
        <a:xfrm>
          <a:off x="0" y="0"/>
          <a:ext cx="0" cy="0"/>
          <a:chOff x="0" y="0"/>
          <a:chExt cx="0" cy="0"/>
        </a:xfrm>
      </p:grpSpPr>
      <p:sp>
        <p:nvSpPr>
          <p:cNvPr id="799" name="Google Shape;799;gbee80388c8_0_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00" name="Google Shape;800;gbee80388c8_0_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239570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8"/>
        <p:cNvGrpSpPr/>
        <p:nvPr/>
      </p:nvGrpSpPr>
      <p:grpSpPr>
        <a:xfrm>
          <a:off x="0" y="0"/>
          <a:ext cx="0" cy="0"/>
          <a:chOff x="0" y="0"/>
          <a:chExt cx="0" cy="0"/>
        </a:xfrm>
      </p:grpSpPr>
      <p:sp>
        <p:nvSpPr>
          <p:cNvPr id="799" name="Google Shape;799;gbee80388c8_0_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00" name="Google Shape;800;gbee80388c8_0_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5166303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8"/>
        <p:cNvGrpSpPr/>
        <p:nvPr/>
      </p:nvGrpSpPr>
      <p:grpSpPr>
        <a:xfrm>
          <a:off x="0" y="0"/>
          <a:ext cx="0" cy="0"/>
          <a:chOff x="0" y="0"/>
          <a:chExt cx="0" cy="0"/>
        </a:xfrm>
      </p:grpSpPr>
      <p:sp>
        <p:nvSpPr>
          <p:cNvPr id="799" name="Google Shape;799;gbee80388c8_0_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00" name="Google Shape;800;gbee80388c8_0_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4615607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8"/>
        <p:cNvGrpSpPr/>
        <p:nvPr/>
      </p:nvGrpSpPr>
      <p:grpSpPr>
        <a:xfrm>
          <a:off x="0" y="0"/>
          <a:ext cx="0" cy="0"/>
          <a:chOff x="0" y="0"/>
          <a:chExt cx="0" cy="0"/>
        </a:xfrm>
      </p:grpSpPr>
      <p:sp>
        <p:nvSpPr>
          <p:cNvPr id="799" name="Google Shape;799;gbee80388c8_0_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00" name="Google Shape;800;gbee80388c8_0_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6227678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8"/>
        <p:cNvGrpSpPr/>
        <p:nvPr/>
      </p:nvGrpSpPr>
      <p:grpSpPr>
        <a:xfrm>
          <a:off x="0" y="0"/>
          <a:ext cx="0" cy="0"/>
          <a:chOff x="0" y="0"/>
          <a:chExt cx="0" cy="0"/>
        </a:xfrm>
      </p:grpSpPr>
      <p:sp>
        <p:nvSpPr>
          <p:cNvPr id="799" name="Google Shape;799;gbee80388c8_0_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00" name="Google Shape;800;gbee80388c8_0_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16087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8"/>
        <p:cNvGrpSpPr/>
        <p:nvPr/>
      </p:nvGrpSpPr>
      <p:grpSpPr>
        <a:xfrm>
          <a:off x="0" y="0"/>
          <a:ext cx="0" cy="0"/>
          <a:chOff x="0" y="0"/>
          <a:chExt cx="0" cy="0"/>
        </a:xfrm>
      </p:grpSpPr>
      <p:sp>
        <p:nvSpPr>
          <p:cNvPr id="1119" name="Google Shape;1119;gc688155e87_0_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20" name="Google Shape;1120;gc688155e87_0_9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4"/>
        <p:cNvGrpSpPr/>
        <p:nvPr/>
      </p:nvGrpSpPr>
      <p:grpSpPr>
        <a:xfrm>
          <a:off x="0" y="0"/>
          <a:ext cx="0" cy="0"/>
          <a:chOff x="0" y="0"/>
          <a:chExt cx="0" cy="0"/>
        </a:xfrm>
      </p:grpSpPr>
      <p:sp>
        <p:nvSpPr>
          <p:cNvPr id="625" name="Google Shape;625;gc0248371d8_2_10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6" name="Google Shape;626;gc0248371d8_2_10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4"/>
        <p:cNvGrpSpPr/>
        <p:nvPr/>
      </p:nvGrpSpPr>
      <p:grpSpPr>
        <a:xfrm>
          <a:off x="0" y="0"/>
          <a:ext cx="0" cy="0"/>
          <a:chOff x="0" y="0"/>
          <a:chExt cx="0" cy="0"/>
        </a:xfrm>
      </p:grpSpPr>
      <p:sp>
        <p:nvSpPr>
          <p:cNvPr id="625" name="Google Shape;625;gc0248371d8_2_10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6" name="Google Shape;626;gc0248371d8_2_10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5950940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4"/>
        <p:cNvGrpSpPr/>
        <p:nvPr/>
      </p:nvGrpSpPr>
      <p:grpSpPr>
        <a:xfrm>
          <a:off x="0" y="0"/>
          <a:ext cx="0" cy="0"/>
          <a:chOff x="0" y="0"/>
          <a:chExt cx="0" cy="0"/>
        </a:xfrm>
      </p:grpSpPr>
      <p:sp>
        <p:nvSpPr>
          <p:cNvPr id="625" name="Google Shape;625;gc0248371d8_2_10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6" name="Google Shape;626;gc0248371d8_2_10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7210405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4"/>
        <p:cNvGrpSpPr/>
        <p:nvPr/>
      </p:nvGrpSpPr>
      <p:grpSpPr>
        <a:xfrm>
          <a:off x="0" y="0"/>
          <a:ext cx="0" cy="0"/>
          <a:chOff x="0" y="0"/>
          <a:chExt cx="0" cy="0"/>
        </a:xfrm>
      </p:grpSpPr>
      <p:sp>
        <p:nvSpPr>
          <p:cNvPr id="625" name="Google Shape;625;gc0248371d8_2_10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6" name="Google Shape;626;gc0248371d8_2_10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6400360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9"/>
        <p:cNvGrpSpPr/>
        <p:nvPr/>
      </p:nvGrpSpPr>
      <p:grpSpPr>
        <a:xfrm>
          <a:off x="0" y="0"/>
          <a:ext cx="0" cy="0"/>
          <a:chOff x="0" y="0"/>
          <a:chExt cx="0" cy="0"/>
        </a:xfrm>
      </p:grpSpPr>
      <p:sp>
        <p:nvSpPr>
          <p:cNvPr id="760" name="Google Shape;760;gc0248371d8_2_1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61" name="Google Shape;761;gc0248371d8_2_18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4"/>
        <p:cNvGrpSpPr/>
        <p:nvPr/>
      </p:nvGrpSpPr>
      <p:grpSpPr>
        <a:xfrm>
          <a:off x="0" y="0"/>
          <a:ext cx="0" cy="0"/>
          <a:chOff x="0" y="0"/>
          <a:chExt cx="0" cy="0"/>
        </a:xfrm>
      </p:grpSpPr>
      <p:sp>
        <p:nvSpPr>
          <p:cNvPr id="785" name="Google Shape;785;gbee80388c8_0_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86" name="Google Shape;786;gbee80388c8_0_9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5"/>
        <p:cNvGrpSpPr/>
        <p:nvPr/>
      </p:nvGrpSpPr>
      <p:grpSpPr>
        <a:xfrm>
          <a:off x="0" y="0"/>
          <a:ext cx="0" cy="0"/>
          <a:chOff x="0" y="0"/>
          <a:chExt cx="0" cy="0"/>
        </a:xfrm>
      </p:grpSpPr>
      <p:sp>
        <p:nvSpPr>
          <p:cNvPr id="836" name="Google Shape;836;gc5aca789a7_1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37" name="Google Shape;837;gc5aca789a7_1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grpSp>
        <p:nvGrpSpPr>
          <p:cNvPr id="9" name="Google Shape;9;p2"/>
          <p:cNvGrpSpPr/>
          <p:nvPr/>
        </p:nvGrpSpPr>
        <p:grpSpPr>
          <a:xfrm>
            <a:off x="-40" y="0"/>
            <a:ext cx="9143957" cy="5143500"/>
            <a:chOff x="-19200" y="0"/>
            <a:chExt cx="9163200" cy="5143500"/>
          </a:xfrm>
        </p:grpSpPr>
        <p:cxnSp>
          <p:nvCxnSpPr>
            <p:cNvPr id="10" name="Google Shape;10;p2"/>
            <p:cNvCxnSpPr/>
            <p:nvPr/>
          </p:nvCxnSpPr>
          <p:spPr>
            <a:xfrm>
              <a:off x="458597"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11" name="Google Shape;11;p2"/>
            <p:cNvCxnSpPr/>
            <p:nvPr/>
          </p:nvCxnSpPr>
          <p:spPr>
            <a:xfrm>
              <a:off x="941120"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12" name="Google Shape;12;p2"/>
            <p:cNvCxnSpPr/>
            <p:nvPr/>
          </p:nvCxnSpPr>
          <p:spPr>
            <a:xfrm>
              <a:off x="1423642"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13" name="Google Shape;13;p2"/>
            <p:cNvCxnSpPr/>
            <p:nvPr/>
          </p:nvCxnSpPr>
          <p:spPr>
            <a:xfrm>
              <a:off x="1906164"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14" name="Google Shape;14;p2"/>
            <p:cNvCxnSpPr/>
            <p:nvPr/>
          </p:nvCxnSpPr>
          <p:spPr>
            <a:xfrm>
              <a:off x="2388687"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15" name="Google Shape;15;p2"/>
            <p:cNvCxnSpPr/>
            <p:nvPr/>
          </p:nvCxnSpPr>
          <p:spPr>
            <a:xfrm>
              <a:off x="2871209"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16" name="Google Shape;16;p2"/>
            <p:cNvCxnSpPr/>
            <p:nvPr/>
          </p:nvCxnSpPr>
          <p:spPr>
            <a:xfrm>
              <a:off x="3353732"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17" name="Google Shape;17;p2"/>
            <p:cNvCxnSpPr/>
            <p:nvPr/>
          </p:nvCxnSpPr>
          <p:spPr>
            <a:xfrm>
              <a:off x="3836254"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18" name="Google Shape;18;p2"/>
            <p:cNvCxnSpPr/>
            <p:nvPr/>
          </p:nvCxnSpPr>
          <p:spPr>
            <a:xfrm>
              <a:off x="4318776"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19" name="Google Shape;19;p2"/>
            <p:cNvCxnSpPr/>
            <p:nvPr/>
          </p:nvCxnSpPr>
          <p:spPr>
            <a:xfrm>
              <a:off x="4801299"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0" name="Google Shape;20;p2"/>
            <p:cNvCxnSpPr/>
            <p:nvPr/>
          </p:nvCxnSpPr>
          <p:spPr>
            <a:xfrm>
              <a:off x="5283821"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1" name="Google Shape;21;p2"/>
            <p:cNvCxnSpPr/>
            <p:nvPr/>
          </p:nvCxnSpPr>
          <p:spPr>
            <a:xfrm>
              <a:off x="5766343"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2" name="Google Shape;22;p2"/>
            <p:cNvCxnSpPr/>
            <p:nvPr/>
          </p:nvCxnSpPr>
          <p:spPr>
            <a:xfrm>
              <a:off x="6248866"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3" name="Google Shape;23;p2"/>
            <p:cNvCxnSpPr/>
            <p:nvPr/>
          </p:nvCxnSpPr>
          <p:spPr>
            <a:xfrm>
              <a:off x="6731388"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4" name="Google Shape;24;p2"/>
            <p:cNvCxnSpPr/>
            <p:nvPr/>
          </p:nvCxnSpPr>
          <p:spPr>
            <a:xfrm>
              <a:off x="7213911"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5" name="Google Shape;25;p2"/>
            <p:cNvCxnSpPr/>
            <p:nvPr/>
          </p:nvCxnSpPr>
          <p:spPr>
            <a:xfrm>
              <a:off x="7696433"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6" name="Google Shape;26;p2"/>
            <p:cNvCxnSpPr/>
            <p:nvPr/>
          </p:nvCxnSpPr>
          <p:spPr>
            <a:xfrm>
              <a:off x="8178955"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7" name="Google Shape;27;p2"/>
            <p:cNvCxnSpPr/>
            <p:nvPr/>
          </p:nvCxnSpPr>
          <p:spPr>
            <a:xfrm>
              <a:off x="8661478"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8" name="Google Shape;28;p2"/>
            <p:cNvCxnSpPr/>
            <p:nvPr/>
          </p:nvCxnSpPr>
          <p:spPr>
            <a:xfrm>
              <a:off x="4562400" y="-4181188"/>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29" name="Google Shape;29;p2"/>
            <p:cNvCxnSpPr/>
            <p:nvPr/>
          </p:nvCxnSpPr>
          <p:spPr>
            <a:xfrm>
              <a:off x="4562400" y="-3698666"/>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30" name="Google Shape;30;p2"/>
            <p:cNvCxnSpPr/>
            <p:nvPr/>
          </p:nvCxnSpPr>
          <p:spPr>
            <a:xfrm>
              <a:off x="4562400" y="-3216143"/>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31" name="Google Shape;31;p2"/>
            <p:cNvCxnSpPr/>
            <p:nvPr/>
          </p:nvCxnSpPr>
          <p:spPr>
            <a:xfrm>
              <a:off x="4562400" y="-2733621"/>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32" name="Google Shape;32;p2"/>
            <p:cNvCxnSpPr/>
            <p:nvPr/>
          </p:nvCxnSpPr>
          <p:spPr>
            <a:xfrm>
              <a:off x="4562400" y="-2251099"/>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33" name="Google Shape;33;p2"/>
            <p:cNvCxnSpPr/>
            <p:nvPr/>
          </p:nvCxnSpPr>
          <p:spPr>
            <a:xfrm>
              <a:off x="4562400" y="-1768576"/>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34" name="Google Shape;34;p2"/>
            <p:cNvCxnSpPr/>
            <p:nvPr/>
          </p:nvCxnSpPr>
          <p:spPr>
            <a:xfrm>
              <a:off x="4562400" y="-1286054"/>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35" name="Google Shape;35;p2"/>
            <p:cNvCxnSpPr/>
            <p:nvPr/>
          </p:nvCxnSpPr>
          <p:spPr>
            <a:xfrm>
              <a:off x="4562400" y="-803532"/>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36" name="Google Shape;36;p2"/>
            <p:cNvCxnSpPr/>
            <p:nvPr/>
          </p:nvCxnSpPr>
          <p:spPr>
            <a:xfrm>
              <a:off x="4562400" y="-321009"/>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37" name="Google Shape;37;p2"/>
            <p:cNvCxnSpPr/>
            <p:nvPr/>
          </p:nvCxnSpPr>
          <p:spPr>
            <a:xfrm>
              <a:off x="4562400" y="161513"/>
              <a:ext cx="0" cy="9163200"/>
            </a:xfrm>
            <a:prstGeom prst="straightConnector1">
              <a:avLst/>
            </a:prstGeom>
            <a:noFill/>
            <a:ln w="19050" cap="flat" cmpd="sng">
              <a:solidFill>
                <a:schemeClr val="accent5"/>
              </a:solidFill>
              <a:prstDash val="solid"/>
              <a:round/>
              <a:headEnd type="none" w="med" len="med"/>
              <a:tailEnd type="none" w="med" len="med"/>
            </a:ln>
          </p:spPr>
        </p:cxnSp>
      </p:grpSp>
      <p:grpSp>
        <p:nvGrpSpPr>
          <p:cNvPr id="38" name="Google Shape;38;p2"/>
          <p:cNvGrpSpPr/>
          <p:nvPr/>
        </p:nvGrpSpPr>
        <p:grpSpPr>
          <a:xfrm rot="5400000">
            <a:off x="-613324" y="2217794"/>
            <a:ext cx="1935792" cy="721105"/>
            <a:chOff x="39" y="4275012"/>
            <a:chExt cx="9144036" cy="886205"/>
          </a:xfrm>
        </p:grpSpPr>
        <p:sp>
          <p:nvSpPr>
            <p:cNvPr id="39" name="Google Shape;39;p2"/>
            <p:cNvSpPr/>
            <p:nvPr/>
          </p:nvSpPr>
          <p:spPr>
            <a:xfrm>
              <a:off x="75" y="4275012"/>
              <a:ext cx="9144000" cy="295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0;p2"/>
            <p:cNvSpPr/>
            <p:nvPr/>
          </p:nvSpPr>
          <p:spPr>
            <a:xfrm>
              <a:off x="39" y="4562606"/>
              <a:ext cx="9144000" cy="303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1;p2"/>
            <p:cNvSpPr/>
            <p:nvPr/>
          </p:nvSpPr>
          <p:spPr>
            <a:xfrm>
              <a:off x="39" y="4849217"/>
              <a:ext cx="9144000" cy="3120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 name="Google Shape;42;p2"/>
          <p:cNvGrpSpPr/>
          <p:nvPr/>
        </p:nvGrpSpPr>
        <p:grpSpPr>
          <a:xfrm rot="-5400000" flipH="1">
            <a:off x="7823476" y="2217794"/>
            <a:ext cx="1935792" cy="721105"/>
            <a:chOff x="39" y="4275012"/>
            <a:chExt cx="9144036" cy="886205"/>
          </a:xfrm>
        </p:grpSpPr>
        <p:sp>
          <p:nvSpPr>
            <p:cNvPr id="43" name="Google Shape;43;p2"/>
            <p:cNvSpPr/>
            <p:nvPr/>
          </p:nvSpPr>
          <p:spPr>
            <a:xfrm>
              <a:off x="75" y="4275012"/>
              <a:ext cx="9144000" cy="295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44;p2"/>
            <p:cNvSpPr/>
            <p:nvPr/>
          </p:nvSpPr>
          <p:spPr>
            <a:xfrm>
              <a:off x="39" y="4562606"/>
              <a:ext cx="9144000" cy="303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45;p2"/>
            <p:cNvSpPr/>
            <p:nvPr/>
          </p:nvSpPr>
          <p:spPr>
            <a:xfrm>
              <a:off x="39" y="4849217"/>
              <a:ext cx="9144000" cy="3120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46;p2"/>
          <p:cNvSpPr/>
          <p:nvPr/>
        </p:nvSpPr>
        <p:spPr>
          <a:xfrm>
            <a:off x="715125" y="552450"/>
            <a:ext cx="7715700" cy="4051800"/>
          </a:xfrm>
          <a:prstGeom prst="roundRect">
            <a:avLst>
              <a:gd name="adj" fmla="val 9256"/>
            </a:avLst>
          </a:prstGeom>
          <a:solidFill>
            <a:schemeClr val="dk1"/>
          </a:solidFill>
          <a:ln w="1905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47;p2"/>
          <p:cNvSpPr txBox="1">
            <a:spLocks noGrp="1"/>
          </p:cNvSpPr>
          <p:nvPr>
            <p:ph type="ctrTitle"/>
          </p:nvPr>
        </p:nvSpPr>
        <p:spPr>
          <a:xfrm>
            <a:off x="1037250" y="897575"/>
            <a:ext cx="4123800" cy="2349300"/>
          </a:xfrm>
          <a:prstGeom prst="rect">
            <a:avLst/>
          </a:prstGeom>
        </p:spPr>
        <p:txBody>
          <a:bodyPr spcFirstLastPara="1" wrap="square" lIns="91425" tIns="91425" rIns="91425" bIns="91425" anchor="b" anchorCtr="0">
            <a:noAutofit/>
          </a:bodyPr>
          <a:lstStyle>
            <a:lvl1pPr lvl="0">
              <a:spcBef>
                <a:spcPts val="0"/>
              </a:spcBef>
              <a:spcAft>
                <a:spcPts val="0"/>
              </a:spcAft>
              <a:buClr>
                <a:schemeClr val="lt1"/>
              </a:buClr>
              <a:buSzPts val="5200"/>
              <a:buNone/>
              <a:defRPr sz="4800">
                <a:solidFill>
                  <a:schemeClr val="lt1"/>
                </a:solidFill>
              </a:defRPr>
            </a:lvl1pPr>
            <a:lvl2pPr lvl="1" algn="ctr">
              <a:spcBef>
                <a:spcPts val="0"/>
              </a:spcBef>
              <a:spcAft>
                <a:spcPts val="0"/>
              </a:spcAft>
              <a:buClr>
                <a:schemeClr val="lt1"/>
              </a:buClr>
              <a:buSzPts val="5200"/>
              <a:buNone/>
              <a:defRPr sz="5200">
                <a:solidFill>
                  <a:schemeClr val="lt1"/>
                </a:solidFill>
              </a:defRPr>
            </a:lvl2pPr>
            <a:lvl3pPr lvl="2" algn="ctr">
              <a:spcBef>
                <a:spcPts val="0"/>
              </a:spcBef>
              <a:spcAft>
                <a:spcPts val="0"/>
              </a:spcAft>
              <a:buClr>
                <a:schemeClr val="lt1"/>
              </a:buClr>
              <a:buSzPts val="5200"/>
              <a:buNone/>
              <a:defRPr sz="5200">
                <a:solidFill>
                  <a:schemeClr val="lt1"/>
                </a:solidFill>
              </a:defRPr>
            </a:lvl3pPr>
            <a:lvl4pPr lvl="3" algn="ctr">
              <a:spcBef>
                <a:spcPts val="0"/>
              </a:spcBef>
              <a:spcAft>
                <a:spcPts val="0"/>
              </a:spcAft>
              <a:buClr>
                <a:schemeClr val="lt1"/>
              </a:buClr>
              <a:buSzPts val="5200"/>
              <a:buNone/>
              <a:defRPr sz="5200">
                <a:solidFill>
                  <a:schemeClr val="lt1"/>
                </a:solidFill>
              </a:defRPr>
            </a:lvl4pPr>
            <a:lvl5pPr lvl="4" algn="ctr">
              <a:spcBef>
                <a:spcPts val="0"/>
              </a:spcBef>
              <a:spcAft>
                <a:spcPts val="0"/>
              </a:spcAft>
              <a:buClr>
                <a:schemeClr val="lt1"/>
              </a:buClr>
              <a:buSzPts val="5200"/>
              <a:buNone/>
              <a:defRPr sz="5200">
                <a:solidFill>
                  <a:schemeClr val="lt1"/>
                </a:solidFill>
              </a:defRPr>
            </a:lvl5pPr>
            <a:lvl6pPr lvl="5" algn="ctr">
              <a:spcBef>
                <a:spcPts val="0"/>
              </a:spcBef>
              <a:spcAft>
                <a:spcPts val="0"/>
              </a:spcAft>
              <a:buClr>
                <a:schemeClr val="lt1"/>
              </a:buClr>
              <a:buSzPts val="5200"/>
              <a:buNone/>
              <a:defRPr sz="5200">
                <a:solidFill>
                  <a:schemeClr val="lt1"/>
                </a:solidFill>
              </a:defRPr>
            </a:lvl6pPr>
            <a:lvl7pPr lvl="6" algn="ctr">
              <a:spcBef>
                <a:spcPts val="0"/>
              </a:spcBef>
              <a:spcAft>
                <a:spcPts val="0"/>
              </a:spcAft>
              <a:buClr>
                <a:schemeClr val="lt1"/>
              </a:buClr>
              <a:buSzPts val="5200"/>
              <a:buNone/>
              <a:defRPr sz="5200">
                <a:solidFill>
                  <a:schemeClr val="lt1"/>
                </a:solidFill>
              </a:defRPr>
            </a:lvl7pPr>
            <a:lvl8pPr lvl="7" algn="ctr">
              <a:spcBef>
                <a:spcPts val="0"/>
              </a:spcBef>
              <a:spcAft>
                <a:spcPts val="0"/>
              </a:spcAft>
              <a:buClr>
                <a:schemeClr val="lt1"/>
              </a:buClr>
              <a:buSzPts val="5200"/>
              <a:buNone/>
              <a:defRPr sz="5200">
                <a:solidFill>
                  <a:schemeClr val="lt1"/>
                </a:solidFill>
              </a:defRPr>
            </a:lvl8pPr>
            <a:lvl9pPr lvl="8" algn="ctr">
              <a:spcBef>
                <a:spcPts val="0"/>
              </a:spcBef>
              <a:spcAft>
                <a:spcPts val="0"/>
              </a:spcAft>
              <a:buClr>
                <a:schemeClr val="lt1"/>
              </a:buClr>
              <a:buSzPts val="5200"/>
              <a:buNone/>
              <a:defRPr sz="5200">
                <a:solidFill>
                  <a:schemeClr val="lt1"/>
                </a:solidFill>
              </a:defRPr>
            </a:lvl9pPr>
          </a:lstStyle>
          <a:p>
            <a:endParaRPr/>
          </a:p>
        </p:txBody>
      </p:sp>
      <p:sp>
        <p:nvSpPr>
          <p:cNvPr id="48" name="Google Shape;48;p2"/>
          <p:cNvSpPr txBox="1">
            <a:spLocks noGrp="1"/>
          </p:cNvSpPr>
          <p:nvPr>
            <p:ph type="subTitle" idx="1"/>
          </p:nvPr>
        </p:nvSpPr>
        <p:spPr>
          <a:xfrm>
            <a:off x="1858950" y="3306400"/>
            <a:ext cx="2648700" cy="697500"/>
          </a:xfrm>
          <a:prstGeom prst="rect">
            <a:avLst/>
          </a:prstGeom>
        </p:spPr>
        <p:txBody>
          <a:bodyPr spcFirstLastPara="1" wrap="square" lIns="91425" tIns="91425" rIns="91425" bIns="91425" anchor="t" anchorCtr="0">
            <a:noAutofit/>
          </a:bodyPr>
          <a:lstStyle>
            <a:lvl1pPr lvl="0">
              <a:lnSpc>
                <a:spcPct val="100000"/>
              </a:lnSpc>
              <a:spcBef>
                <a:spcPts val="0"/>
              </a:spcBef>
              <a:spcAft>
                <a:spcPts val="0"/>
              </a:spcAft>
              <a:buClr>
                <a:schemeClr val="lt1"/>
              </a:buClr>
              <a:buSzPts val="2800"/>
              <a:buNone/>
              <a:defRPr sz="1600">
                <a:solidFill>
                  <a:schemeClr val="lt1"/>
                </a:solidFill>
              </a:defRPr>
            </a:lvl1pPr>
            <a:lvl2pPr lvl="1" algn="ctr">
              <a:lnSpc>
                <a:spcPct val="100000"/>
              </a:lnSpc>
              <a:spcBef>
                <a:spcPts val="0"/>
              </a:spcBef>
              <a:spcAft>
                <a:spcPts val="0"/>
              </a:spcAft>
              <a:buClr>
                <a:schemeClr val="lt1"/>
              </a:buClr>
              <a:buSzPts val="2800"/>
              <a:buNone/>
              <a:defRPr sz="2800">
                <a:solidFill>
                  <a:schemeClr val="lt1"/>
                </a:solidFill>
              </a:defRPr>
            </a:lvl2pPr>
            <a:lvl3pPr lvl="2" algn="ctr">
              <a:lnSpc>
                <a:spcPct val="100000"/>
              </a:lnSpc>
              <a:spcBef>
                <a:spcPts val="0"/>
              </a:spcBef>
              <a:spcAft>
                <a:spcPts val="0"/>
              </a:spcAft>
              <a:buClr>
                <a:schemeClr val="lt1"/>
              </a:buClr>
              <a:buSzPts val="2800"/>
              <a:buNone/>
              <a:defRPr sz="2800">
                <a:solidFill>
                  <a:schemeClr val="lt1"/>
                </a:solidFill>
              </a:defRPr>
            </a:lvl3pPr>
            <a:lvl4pPr lvl="3" algn="ctr">
              <a:lnSpc>
                <a:spcPct val="100000"/>
              </a:lnSpc>
              <a:spcBef>
                <a:spcPts val="0"/>
              </a:spcBef>
              <a:spcAft>
                <a:spcPts val="0"/>
              </a:spcAft>
              <a:buClr>
                <a:schemeClr val="lt1"/>
              </a:buClr>
              <a:buSzPts val="2800"/>
              <a:buNone/>
              <a:defRPr sz="2800">
                <a:solidFill>
                  <a:schemeClr val="lt1"/>
                </a:solidFill>
              </a:defRPr>
            </a:lvl4pPr>
            <a:lvl5pPr lvl="4" algn="ctr">
              <a:lnSpc>
                <a:spcPct val="100000"/>
              </a:lnSpc>
              <a:spcBef>
                <a:spcPts val="0"/>
              </a:spcBef>
              <a:spcAft>
                <a:spcPts val="0"/>
              </a:spcAft>
              <a:buClr>
                <a:schemeClr val="lt1"/>
              </a:buClr>
              <a:buSzPts val="2800"/>
              <a:buNone/>
              <a:defRPr sz="2800">
                <a:solidFill>
                  <a:schemeClr val="lt1"/>
                </a:solidFill>
              </a:defRPr>
            </a:lvl5pPr>
            <a:lvl6pPr lvl="5" algn="ctr">
              <a:lnSpc>
                <a:spcPct val="100000"/>
              </a:lnSpc>
              <a:spcBef>
                <a:spcPts val="0"/>
              </a:spcBef>
              <a:spcAft>
                <a:spcPts val="0"/>
              </a:spcAft>
              <a:buClr>
                <a:schemeClr val="lt1"/>
              </a:buClr>
              <a:buSzPts val="2800"/>
              <a:buNone/>
              <a:defRPr sz="2800">
                <a:solidFill>
                  <a:schemeClr val="lt1"/>
                </a:solidFill>
              </a:defRPr>
            </a:lvl6pPr>
            <a:lvl7pPr lvl="6" algn="ctr">
              <a:lnSpc>
                <a:spcPct val="100000"/>
              </a:lnSpc>
              <a:spcBef>
                <a:spcPts val="0"/>
              </a:spcBef>
              <a:spcAft>
                <a:spcPts val="0"/>
              </a:spcAft>
              <a:buClr>
                <a:schemeClr val="lt1"/>
              </a:buClr>
              <a:buSzPts val="2800"/>
              <a:buNone/>
              <a:defRPr sz="2800">
                <a:solidFill>
                  <a:schemeClr val="lt1"/>
                </a:solidFill>
              </a:defRPr>
            </a:lvl7pPr>
            <a:lvl8pPr lvl="7" algn="ctr">
              <a:lnSpc>
                <a:spcPct val="100000"/>
              </a:lnSpc>
              <a:spcBef>
                <a:spcPts val="0"/>
              </a:spcBef>
              <a:spcAft>
                <a:spcPts val="0"/>
              </a:spcAft>
              <a:buClr>
                <a:schemeClr val="lt1"/>
              </a:buClr>
              <a:buSzPts val="2800"/>
              <a:buNone/>
              <a:defRPr sz="2800">
                <a:solidFill>
                  <a:schemeClr val="lt1"/>
                </a:solidFill>
              </a:defRPr>
            </a:lvl8pPr>
            <a:lvl9pPr lvl="8" algn="ctr">
              <a:lnSpc>
                <a:spcPct val="100000"/>
              </a:lnSpc>
              <a:spcBef>
                <a:spcPts val="0"/>
              </a:spcBef>
              <a:spcAft>
                <a:spcPts val="0"/>
              </a:spcAft>
              <a:buClr>
                <a:schemeClr val="lt1"/>
              </a:buClr>
              <a:buSzPts val="2800"/>
              <a:buNone/>
              <a:defRPr sz="2800">
                <a:solidFill>
                  <a:schemeClr val="lt1"/>
                </a:solidFill>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text 5">
  <p:cSld name="CUSTOM_13_1_1_1_1">
    <p:spTree>
      <p:nvGrpSpPr>
        <p:cNvPr id="1" name="Shape 337"/>
        <p:cNvGrpSpPr/>
        <p:nvPr/>
      </p:nvGrpSpPr>
      <p:grpSpPr>
        <a:xfrm>
          <a:off x="0" y="0"/>
          <a:ext cx="0" cy="0"/>
          <a:chOff x="0" y="0"/>
          <a:chExt cx="0" cy="0"/>
        </a:xfrm>
      </p:grpSpPr>
      <p:sp>
        <p:nvSpPr>
          <p:cNvPr id="338" name="Google Shape;338;p21"/>
          <p:cNvSpPr txBox="1">
            <a:spLocks noGrp="1"/>
          </p:cNvSpPr>
          <p:nvPr>
            <p:ph type="title"/>
          </p:nvPr>
        </p:nvSpPr>
        <p:spPr>
          <a:xfrm>
            <a:off x="713400" y="381209"/>
            <a:ext cx="77172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339" name="Google Shape;339;p21"/>
          <p:cNvSpPr txBox="1">
            <a:spLocks noGrp="1"/>
          </p:cNvSpPr>
          <p:nvPr>
            <p:ph type="body" idx="1"/>
          </p:nvPr>
        </p:nvSpPr>
        <p:spPr>
          <a:xfrm>
            <a:off x="713400" y="1152475"/>
            <a:ext cx="7717200" cy="3416400"/>
          </a:xfrm>
          <a:prstGeom prst="rect">
            <a:avLst/>
          </a:prstGeom>
        </p:spPr>
        <p:txBody>
          <a:bodyPr spcFirstLastPara="1" wrap="square" lIns="91425" tIns="91425" rIns="91425" bIns="91425" anchor="t" anchorCtr="0">
            <a:noAutofit/>
          </a:bodyPr>
          <a:lstStyle>
            <a:lvl1pPr marL="457200" lvl="0" indent="-330200" rtl="0">
              <a:spcBef>
                <a:spcPts val="0"/>
              </a:spcBef>
              <a:spcAft>
                <a:spcPts val="0"/>
              </a:spcAft>
              <a:buSzPts val="1600"/>
              <a:buChar char="●"/>
              <a:defRPr sz="1400"/>
            </a:lvl1pPr>
            <a:lvl2pPr marL="914400" lvl="1" indent="-330200" rtl="0">
              <a:spcBef>
                <a:spcPts val="0"/>
              </a:spcBef>
              <a:spcAft>
                <a:spcPts val="0"/>
              </a:spcAft>
              <a:buSzPts val="1600"/>
              <a:buChar char="○"/>
              <a:defRPr sz="1600"/>
            </a:lvl2pPr>
            <a:lvl3pPr marL="1371600" lvl="2" indent="-330200" rtl="0">
              <a:spcBef>
                <a:spcPts val="0"/>
              </a:spcBef>
              <a:spcAft>
                <a:spcPts val="0"/>
              </a:spcAft>
              <a:buSzPts val="1600"/>
              <a:buChar char="■"/>
              <a:defRPr sz="1600"/>
            </a:lvl3pPr>
            <a:lvl4pPr marL="1828800" lvl="3" indent="-330200" rtl="0">
              <a:spcBef>
                <a:spcPts val="0"/>
              </a:spcBef>
              <a:spcAft>
                <a:spcPts val="0"/>
              </a:spcAft>
              <a:buSzPts val="1600"/>
              <a:buChar char="●"/>
              <a:defRPr sz="1600"/>
            </a:lvl4pPr>
            <a:lvl5pPr marL="2286000" lvl="4" indent="-330200" rtl="0">
              <a:spcBef>
                <a:spcPts val="0"/>
              </a:spcBef>
              <a:spcAft>
                <a:spcPts val="0"/>
              </a:spcAft>
              <a:buSzPts val="1600"/>
              <a:buChar char="○"/>
              <a:defRPr sz="1600"/>
            </a:lvl5pPr>
            <a:lvl6pPr marL="2743200" lvl="5" indent="-330200" rtl="0">
              <a:spcBef>
                <a:spcPts val="0"/>
              </a:spcBef>
              <a:spcAft>
                <a:spcPts val="0"/>
              </a:spcAft>
              <a:buSzPts val="1600"/>
              <a:buChar char="■"/>
              <a:defRPr sz="1600"/>
            </a:lvl6pPr>
            <a:lvl7pPr marL="3200400" lvl="6" indent="-330200" rtl="0">
              <a:spcBef>
                <a:spcPts val="0"/>
              </a:spcBef>
              <a:spcAft>
                <a:spcPts val="0"/>
              </a:spcAft>
              <a:buSzPts val="1600"/>
              <a:buChar char="●"/>
              <a:defRPr sz="1600"/>
            </a:lvl7pPr>
            <a:lvl8pPr marL="3657600" lvl="7" indent="-330200" rtl="0">
              <a:spcBef>
                <a:spcPts val="0"/>
              </a:spcBef>
              <a:spcAft>
                <a:spcPts val="0"/>
              </a:spcAft>
              <a:buSzPts val="1600"/>
              <a:buChar char="○"/>
              <a:defRPr sz="1600"/>
            </a:lvl8pPr>
            <a:lvl9pPr marL="4114800" lvl="8" indent="-330200" rtl="0">
              <a:spcBef>
                <a:spcPts val="0"/>
              </a:spcBef>
              <a:spcAft>
                <a:spcPts val="0"/>
              </a:spcAft>
              <a:buSzPts val="1600"/>
              <a:buChar char="■"/>
              <a:defRPr sz="1600"/>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and six columns">
  <p:cSld name="CUSTOM_2_2">
    <p:spTree>
      <p:nvGrpSpPr>
        <p:cNvPr id="1" name="Shape 476"/>
        <p:cNvGrpSpPr/>
        <p:nvPr/>
      </p:nvGrpSpPr>
      <p:grpSpPr>
        <a:xfrm>
          <a:off x="0" y="0"/>
          <a:ext cx="0" cy="0"/>
          <a:chOff x="0" y="0"/>
          <a:chExt cx="0" cy="0"/>
        </a:xfrm>
      </p:grpSpPr>
      <p:sp>
        <p:nvSpPr>
          <p:cNvPr id="477" name="Google Shape;477;p27"/>
          <p:cNvSpPr/>
          <p:nvPr/>
        </p:nvSpPr>
        <p:spPr>
          <a:xfrm rot="10800000">
            <a:off x="0" y="-2"/>
            <a:ext cx="9144000" cy="1438312"/>
          </a:xfrm>
          <a:custGeom>
            <a:avLst/>
            <a:gdLst/>
            <a:ahLst/>
            <a:cxnLst/>
            <a:rect l="l" t="t" r="r" b="b"/>
            <a:pathLst>
              <a:path w="285750" h="64390" extrusionOk="0">
                <a:moveTo>
                  <a:pt x="41446" y="1536"/>
                </a:moveTo>
                <a:lnTo>
                  <a:pt x="39576" y="2727"/>
                </a:lnTo>
                <a:lnTo>
                  <a:pt x="20253" y="2727"/>
                </a:lnTo>
                <a:lnTo>
                  <a:pt x="22574" y="1536"/>
                </a:lnTo>
                <a:close/>
                <a:moveTo>
                  <a:pt x="63294" y="1536"/>
                </a:moveTo>
                <a:lnTo>
                  <a:pt x="61841" y="2727"/>
                </a:lnTo>
                <a:lnTo>
                  <a:pt x="42577" y="2727"/>
                </a:lnTo>
                <a:lnTo>
                  <a:pt x="44458" y="1536"/>
                </a:lnTo>
                <a:close/>
                <a:moveTo>
                  <a:pt x="87070" y="1536"/>
                </a:moveTo>
                <a:lnTo>
                  <a:pt x="85987" y="2727"/>
                </a:lnTo>
                <a:lnTo>
                  <a:pt x="64449" y="2727"/>
                </a:lnTo>
                <a:lnTo>
                  <a:pt x="65913" y="1536"/>
                </a:lnTo>
                <a:close/>
                <a:moveTo>
                  <a:pt x="107335" y="1536"/>
                </a:moveTo>
                <a:lnTo>
                  <a:pt x="106692" y="2727"/>
                </a:lnTo>
                <a:lnTo>
                  <a:pt x="88285" y="2727"/>
                </a:lnTo>
                <a:lnTo>
                  <a:pt x="89345" y="1536"/>
                </a:lnTo>
                <a:close/>
                <a:moveTo>
                  <a:pt x="128969" y="1536"/>
                </a:moveTo>
                <a:lnTo>
                  <a:pt x="128766" y="2727"/>
                </a:lnTo>
                <a:lnTo>
                  <a:pt x="108716" y="2727"/>
                </a:lnTo>
                <a:lnTo>
                  <a:pt x="109359" y="1536"/>
                </a:lnTo>
                <a:close/>
                <a:moveTo>
                  <a:pt x="154900" y="1536"/>
                </a:moveTo>
                <a:lnTo>
                  <a:pt x="155115" y="2727"/>
                </a:lnTo>
                <a:lnTo>
                  <a:pt x="130647" y="2727"/>
                </a:lnTo>
                <a:lnTo>
                  <a:pt x="130850" y="1536"/>
                </a:lnTo>
                <a:close/>
                <a:moveTo>
                  <a:pt x="176391" y="1536"/>
                </a:moveTo>
                <a:lnTo>
                  <a:pt x="177034" y="2727"/>
                </a:lnTo>
                <a:lnTo>
                  <a:pt x="156984" y="2727"/>
                </a:lnTo>
                <a:lnTo>
                  <a:pt x="156770" y="1536"/>
                </a:lnTo>
                <a:close/>
                <a:moveTo>
                  <a:pt x="196394" y="1536"/>
                </a:moveTo>
                <a:lnTo>
                  <a:pt x="197465" y="2727"/>
                </a:lnTo>
                <a:lnTo>
                  <a:pt x="179058" y="2727"/>
                </a:lnTo>
                <a:lnTo>
                  <a:pt x="178415" y="1536"/>
                </a:lnTo>
                <a:close/>
                <a:moveTo>
                  <a:pt x="219837" y="1536"/>
                </a:moveTo>
                <a:lnTo>
                  <a:pt x="221290" y="2727"/>
                </a:lnTo>
                <a:lnTo>
                  <a:pt x="199751" y="2727"/>
                </a:lnTo>
                <a:lnTo>
                  <a:pt x="198680" y="1536"/>
                </a:lnTo>
                <a:close/>
                <a:moveTo>
                  <a:pt x="241292" y="1536"/>
                </a:moveTo>
                <a:lnTo>
                  <a:pt x="243173" y="2727"/>
                </a:lnTo>
                <a:lnTo>
                  <a:pt x="223909" y="2727"/>
                </a:lnTo>
                <a:lnTo>
                  <a:pt x="222456" y="1536"/>
                </a:lnTo>
                <a:close/>
                <a:moveTo>
                  <a:pt x="263176" y="1536"/>
                </a:moveTo>
                <a:lnTo>
                  <a:pt x="265497" y="2727"/>
                </a:lnTo>
                <a:lnTo>
                  <a:pt x="246174" y="2727"/>
                </a:lnTo>
                <a:lnTo>
                  <a:pt x="244304" y="1536"/>
                </a:lnTo>
                <a:close/>
                <a:moveTo>
                  <a:pt x="37195" y="4215"/>
                </a:moveTo>
                <a:lnTo>
                  <a:pt x="31480" y="7834"/>
                </a:lnTo>
                <a:lnTo>
                  <a:pt x="10251" y="7834"/>
                </a:lnTo>
                <a:lnTo>
                  <a:pt x="17324" y="4215"/>
                </a:lnTo>
                <a:close/>
                <a:moveTo>
                  <a:pt x="128516" y="4215"/>
                </a:moveTo>
                <a:lnTo>
                  <a:pt x="127885" y="7834"/>
                </a:lnTo>
                <a:lnTo>
                  <a:pt x="105966" y="7834"/>
                </a:lnTo>
                <a:lnTo>
                  <a:pt x="107918" y="4215"/>
                </a:lnTo>
                <a:close/>
                <a:moveTo>
                  <a:pt x="155365" y="4215"/>
                </a:moveTo>
                <a:lnTo>
                  <a:pt x="155984" y="7834"/>
                </a:lnTo>
                <a:lnTo>
                  <a:pt x="129766" y="7834"/>
                </a:lnTo>
                <a:lnTo>
                  <a:pt x="130385" y="4215"/>
                </a:lnTo>
                <a:close/>
                <a:moveTo>
                  <a:pt x="59996" y="4239"/>
                </a:moveTo>
                <a:lnTo>
                  <a:pt x="55543" y="7846"/>
                </a:lnTo>
                <a:lnTo>
                  <a:pt x="34481" y="7846"/>
                </a:lnTo>
                <a:lnTo>
                  <a:pt x="40219" y="4239"/>
                </a:lnTo>
                <a:close/>
                <a:moveTo>
                  <a:pt x="84665" y="4239"/>
                </a:moveTo>
                <a:lnTo>
                  <a:pt x="81427" y="7846"/>
                </a:lnTo>
                <a:lnTo>
                  <a:pt x="58162" y="7846"/>
                </a:lnTo>
                <a:lnTo>
                  <a:pt x="62615" y="4239"/>
                </a:lnTo>
                <a:close/>
                <a:moveTo>
                  <a:pt x="105894" y="4239"/>
                </a:moveTo>
                <a:lnTo>
                  <a:pt x="103942" y="7846"/>
                </a:lnTo>
                <a:lnTo>
                  <a:pt x="83713" y="7846"/>
                </a:lnTo>
                <a:lnTo>
                  <a:pt x="86951" y="4239"/>
                </a:lnTo>
                <a:close/>
                <a:moveTo>
                  <a:pt x="177832" y="4239"/>
                </a:moveTo>
                <a:lnTo>
                  <a:pt x="179784" y="7846"/>
                </a:lnTo>
                <a:lnTo>
                  <a:pt x="157865" y="7846"/>
                </a:lnTo>
                <a:lnTo>
                  <a:pt x="157234" y="4239"/>
                </a:lnTo>
                <a:close/>
                <a:moveTo>
                  <a:pt x="198811" y="4239"/>
                </a:moveTo>
                <a:lnTo>
                  <a:pt x="202037" y="7846"/>
                </a:lnTo>
                <a:lnTo>
                  <a:pt x="181808" y="7846"/>
                </a:lnTo>
                <a:lnTo>
                  <a:pt x="179868" y="4239"/>
                </a:lnTo>
                <a:close/>
                <a:moveTo>
                  <a:pt x="223135" y="4239"/>
                </a:moveTo>
                <a:lnTo>
                  <a:pt x="227588" y="7846"/>
                </a:lnTo>
                <a:lnTo>
                  <a:pt x="204323" y="7846"/>
                </a:lnTo>
                <a:lnTo>
                  <a:pt x="201097" y="4239"/>
                </a:lnTo>
                <a:close/>
                <a:moveTo>
                  <a:pt x="245543" y="4239"/>
                </a:moveTo>
                <a:lnTo>
                  <a:pt x="251258" y="7846"/>
                </a:lnTo>
                <a:lnTo>
                  <a:pt x="230207" y="7846"/>
                </a:lnTo>
                <a:lnTo>
                  <a:pt x="225754" y="4239"/>
                </a:lnTo>
                <a:close/>
                <a:moveTo>
                  <a:pt x="268438" y="4239"/>
                </a:moveTo>
                <a:lnTo>
                  <a:pt x="275499" y="7846"/>
                </a:lnTo>
                <a:lnTo>
                  <a:pt x="254294" y="7846"/>
                </a:lnTo>
                <a:lnTo>
                  <a:pt x="248567" y="4239"/>
                </a:lnTo>
                <a:close/>
                <a:moveTo>
                  <a:pt x="7382" y="9323"/>
                </a:moveTo>
                <a:lnTo>
                  <a:pt x="7382" y="9358"/>
                </a:lnTo>
                <a:lnTo>
                  <a:pt x="29099" y="9358"/>
                </a:lnTo>
                <a:lnTo>
                  <a:pt x="23753" y="12728"/>
                </a:lnTo>
                <a:lnTo>
                  <a:pt x="726" y="12728"/>
                </a:lnTo>
                <a:lnTo>
                  <a:pt x="7382" y="9323"/>
                </a:lnTo>
                <a:close/>
                <a:moveTo>
                  <a:pt x="53697" y="9358"/>
                </a:moveTo>
                <a:lnTo>
                  <a:pt x="49542" y="12728"/>
                </a:lnTo>
                <a:lnTo>
                  <a:pt x="26777" y="12728"/>
                </a:lnTo>
                <a:lnTo>
                  <a:pt x="32123" y="9358"/>
                </a:lnTo>
                <a:close/>
                <a:moveTo>
                  <a:pt x="80081" y="9358"/>
                </a:moveTo>
                <a:lnTo>
                  <a:pt x="77081" y="12728"/>
                </a:lnTo>
                <a:lnTo>
                  <a:pt x="52161" y="12728"/>
                </a:lnTo>
                <a:lnTo>
                  <a:pt x="56317" y="9358"/>
                </a:lnTo>
                <a:close/>
                <a:moveTo>
                  <a:pt x="103144" y="9358"/>
                </a:moveTo>
                <a:lnTo>
                  <a:pt x="101322" y="12728"/>
                </a:lnTo>
                <a:lnTo>
                  <a:pt x="79367" y="12728"/>
                </a:lnTo>
                <a:lnTo>
                  <a:pt x="82391" y="9358"/>
                </a:lnTo>
                <a:close/>
                <a:moveTo>
                  <a:pt x="127623" y="9358"/>
                </a:moveTo>
                <a:lnTo>
                  <a:pt x="127040" y="12728"/>
                </a:lnTo>
                <a:lnTo>
                  <a:pt x="103346" y="12728"/>
                </a:lnTo>
                <a:lnTo>
                  <a:pt x="105168" y="9358"/>
                </a:lnTo>
                <a:close/>
                <a:moveTo>
                  <a:pt x="156246" y="9358"/>
                </a:moveTo>
                <a:lnTo>
                  <a:pt x="156817" y="12728"/>
                </a:lnTo>
                <a:lnTo>
                  <a:pt x="128933" y="12728"/>
                </a:lnTo>
                <a:lnTo>
                  <a:pt x="129516" y="9358"/>
                </a:lnTo>
                <a:close/>
                <a:moveTo>
                  <a:pt x="180594" y="9358"/>
                </a:moveTo>
                <a:lnTo>
                  <a:pt x="182404" y="12728"/>
                </a:lnTo>
                <a:lnTo>
                  <a:pt x="158710" y="12728"/>
                </a:lnTo>
                <a:lnTo>
                  <a:pt x="158127" y="9358"/>
                </a:lnTo>
                <a:close/>
                <a:moveTo>
                  <a:pt x="203359" y="9358"/>
                </a:moveTo>
                <a:lnTo>
                  <a:pt x="206383" y="12728"/>
                </a:lnTo>
                <a:lnTo>
                  <a:pt x="184416" y="12728"/>
                </a:lnTo>
                <a:lnTo>
                  <a:pt x="182594" y="9358"/>
                </a:lnTo>
                <a:close/>
                <a:moveTo>
                  <a:pt x="229433" y="9358"/>
                </a:moveTo>
                <a:lnTo>
                  <a:pt x="233589" y="12728"/>
                </a:lnTo>
                <a:lnTo>
                  <a:pt x="208669" y="12728"/>
                </a:lnTo>
                <a:lnTo>
                  <a:pt x="205669" y="9358"/>
                </a:lnTo>
                <a:close/>
                <a:moveTo>
                  <a:pt x="253639" y="9358"/>
                </a:moveTo>
                <a:lnTo>
                  <a:pt x="258973" y="12728"/>
                </a:lnTo>
                <a:lnTo>
                  <a:pt x="236208" y="12728"/>
                </a:lnTo>
                <a:lnTo>
                  <a:pt x="232053" y="9358"/>
                </a:lnTo>
                <a:close/>
                <a:moveTo>
                  <a:pt x="278428" y="9358"/>
                </a:moveTo>
                <a:lnTo>
                  <a:pt x="285024" y="12728"/>
                </a:lnTo>
                <a:lnTo>
                  <a:pt x="261997" y="12728"/>
                </a:lnTo>
                <a:lnTo>
                  <a:pt x="256651" y="9358"/>
                </a:lnTo>
                <a:close/>
                <a:moveTo>
                  <a:pt x="47720" y="14240"/>
                </a:moveTo>
                <a:lnTo>
                  <a:pt x="41827" y="19014"/>
                </a:lnTo>
                <a:lnTo>
                  <a:pt x="16883" y="19003"/>
                </a:lnTo>
                <a:lnTo>
                  <a:pt x="24408" y="14240"/>
                </a:lnTo>
                <a:close/>
                <a:moveTo>
                  <a:pt x="75736" y="14240"/>
                </a:moveTo>
                <a:lnTo>
                  <a:pt x="71438" y="19038"/>
                </a:lnTo>
                <a:lnTo>
                  <a:pt x="44446" y="19014"/>
                </a:lnTo>
                <a:lnTo>
                  <a:pt x="50316" y="14240"/>
                </a:lnTo>
                <a:close/>
                <a:moveTo>
                  <a:pt x="100501" y="14240"/>
                </a:moveTo>
                <a:lnTo>
                  <a:pt x="97929" y="19062"/>
                </a:lnTo>
                <a:lnTo>
                  <a:pt x="73735" y="19038"/>
                </a:lnTo>
                <a:lnTo>
                  <a:pt x="78010" y="14240"/>
                </a:lnTo>
                <a:close/>
                <a:moveTo>
                  <a:pt x="126790" y="14240"/>
                </a:moveTo>
                <a:lnTo>
                  <a:pt x="125956" y="19086"/>
                </a:lnTo>
                <a:lnTo>
                  <a:pt x="99953" y="19062"/>
                </a:lnTo>
                <a:lnTo>
                  <a:pt x="102549" y="14240"/>
                </a:lnTo>
                <a:close/>
                <a:moveTo>
                  <a:pt x="157079" y="14216"/>
                </a:moveTo>
                <a:lnTo>
                  <a:pt x="157913" y="19098"/>
                </a:lnTo>
                <a:lnTo>
                  <a:pt x="127826" y="19086"/>
                </a:lnTo>
                <a:lnTo>
                  <a:pt x="128659" y="14216"/>
                </a:lnTo>
                <a:close/>
                <a:moveTo>
                  <a:pt x="183213" y="14216"/>
                </a:moveTo>
                <a:lnTo>
                  <a:pt x="183213" y="14240"/>
                </a:lnTo>
                <a:lnTo>
                  <a:pt x="185845" y="19145"/>
                </a:lnTo>
                <a:lnTo>
                  <a:pt x="159794" y="19122"/>
                </a:lnTo>
                <a:lnTo>
                  <a:pt x="158960" y="14216"/>
                </a:lnTo>
                <a:close/>
                <a:moveTo>
                  <a:pt x="207716" y="14240"/>
                </a:moveTo>
                <a:lnTo>
                  <a:pt x="212122" y="19181"/>
                </a:lnTo>
                <a:lnTo>
                  <a:pt x="212122" y="19181"/>
                </a:lnTo>
                <a:lnTo>
                  <a:pt x="187869" y="19145"/>
                </a:lnTo>
                <a:lnTo>
                  <a:pt x="185226" y="14240"/>
                </a:lnTo>
                <a:close/>
                <a:moveTo>
                  <a:pt x="235434" y="14216"/>
                </a:moveTo>
                <a:lnTo>
                  <a:pt x="241518" y="19181"/>
                </a:lnTo>
                <a:lnTo>
                  <a:pt x="214420" y="19157"/>
                </a:lnTo>
                <a:lnTo>
                  <a:pt x="210014" y="14216"/>
                </a:lnTo>
                <a:close/>
                <a:moveTo>
                  <a:pt x="261342" y="14240"/>
                </a:moveTo>
                <a:lnTo>
                  <a:pt x="269236" y="19217"/>
                </a:lnTo>
                <a:lnTo>
                  <a:pt x="244150" y="19193"/>
                </a:lnTo>
                <a:lnTo>
                  <a:pt x="238054" y="14240"/>
                </a:lnTo>
                <a:close/>
                <a:moveTo>
                  <a:pt x="72402" y="20527"/>
                </a:moveTo>
                <a:lnTo>
                  <a:pt x="97131" y="20562"/>
                </a:lnTo>
                <a:lnTo>
                  <a:pt x="94405" y="25622"/>
                </a:lnTo>
                <a:lnTo>
                  <a:pt x="67866" y="25622"/>
                </a:lnTo>
                <a:lnTo>
                  <a:pt x="72402" y="20527"/>
                </a:lnTo>
                <a:close/>
                <a:moveTo>
                  <a:pt x="160068" y="20622"/>
                </a:moveTo>
                <a:lnTo>
                  <a:pt x="186642" y="20634"/>
                </a:lnTo>
                <a:lnTo>
                  <a:pt x="189321" y="25622"/>
                </a:lnTo>
                <a:lnTo>
                  <a:pt x="160925" y="25622"/>
                </a:lnTo>
                <a:lnTo>
                  <a:pt x="160068" y="20622"/>
                </a:lnTo>
                <a:close/>
                <a:moveTo>
                  <a:pt x="188666" y="20634"/>
                </a:moveTo>
                <a:lnTo>
                  <a:pt x="213467" y="20669"/>
                </a:lnTo>
                <a:lnTo>
                  <a:pt x="217884" y="25622"/>
                </a:lnTo>
                <a:lnTo>
                  <a:pt x="191345" y="25622"/>
                </a:lnTo>
                <a:lnTo>
                  <a:pt x="188666" y="20634"/>
                </a:lnTo>
                <a:close/>
                <a:moveTo>
                  <a:pt x="245983" y="20693"/>
                </a:moveTo>
                <a:lnTo>
                  <a:pt x="271593" y="20705"/>
                </a:lnTo>
                <a:lnTo>
                  <a:pt x="279356" y="25622"/>
                </a:lnTo>
                <a:lnTo>
                  <a:pt x="252043" y="25622"/>
                </a:lnTo>
                <a:lnTo>
                  <a:pt x="245983" y="20693"/>
                </a:lnTo>
                <a:close/>
                <a:moveTo>
                  <a:pt x="14514" y="20491"/>
                </a:moveTo>
                <a:lnTo>
                  <a:pt x="39993" y="20515"/>
                </a:lnTo>
                <a:lnTo>
                  <a:pt x="33707" y="25634"/>
                </a:lnTo>
                <a:lnTo>
                  <a:pt x="6406" y="25634"/>
                </a:lnTo>
                <a:lnTo>
                  <a:pt x="6406" y="25622"/>
                </a:lnTo>
                <a:lnTo>
                  <a:pt x="14514" y="20491"/>
                </a:lnTo>
                <a:close/>
                <a:moveTo>
                  <a:pt x="42601" y="20515"/>
                </a:moveTo>
                <a:lnTo>
                  <a:pt x="70116" y="20550"/>
                </a:lnTo>
                <a:lnTo>
                  <a:pt x="65580" y="25634"/>
                </a:lnTo>
                <a:lnTo>
                  <a:pt x="36314" y="25634"/>
                </a:lnTo>
                <a:lnTo>
                  <a:pt x="42601" y="20515"/>
                </a:lnTo>
                <a:close/>
                <a:moveTo>
                  <a:pt x="99155" y="20562"/>
                </a:moveTo>
                <a:lnTo>
                  <a:pt x="125706" y="20586"/>
                </a:lnTo>
                <a:lnTo>
                  <a:pt x="124837" y="25634"/>
                </a:lnTo>
                <a:lnTo>
                  <a:pt x="96429" y="25634"/>
                </a:lnTo>
                <a:lnTo>
                  <a:pt x="99155" y="20562"/>
                </a:lnTo>
                <a:close/>
                <a:moveTo>
                  <a:pt x="127575" y="20610"/>
                </a:moveTo>
                <a:lnTo>
                  <a:pt x="158175" y="20622"/>
                </a:lnTo>
                <a:lnTo>
                  <a:pt x="159032" y="25634"/>
                </a:lnTo>
                <a:lnTo>
                  <a:pt x="126718" y="25634"/>
                </a:lnTo>
                <a:lnTo>
                  <a:pt x="127575" y="20610"/>
                </a:lnTo>
                <a:close/>
                <a:moveTo>
                  <a:pt x="215753" y="20669"/>
                </a:moveTo>
                <a:lnTo>
                  <a:pt x="243364" y="20693"/>
                </a:lnTo>
                <a:lnTo>
                  <a:pt x="249424" y="25634"/>
                </a:lnTo>
                <a:lnTo>
                  <a:pt x="220182" y="25634"/>
                </a:lnTo>
                <a:lnTo>
                  <a:pt x="215753" y="20669"/>
                </a:lnTo>
                <a:close/>
                <a:moveTo>
                  <a:pt x="64234" y="27123"/>
                </a:moveTo>
                <a:lnTo>
                  <a:pt x="59067" y="32909"/>
                </a:lnTo>
                <a:lnTo>
                  <a:pt x="27372" y="32909"/>
                </a:lnTo>
                <a:lnTo>
                  <a:pt x="34481" y="27123"/>
                </a:lnTo>
                <a:close/>
                <a:moveTo>
                  <a:pt x="93595" y="27123"/>
                </a:moveTo>
                <a:lnTo>
                  <a:pt x="90488" y="32909"/>
                </a:lnTo>
                <a:lnTo>
                  <a:pt x="61365" y="32909"/>
                </a:lnTo>
                <a:lnTo>
                  <a:pt x="66532" y="27123"/>
                </a:lnTo>
                <a:close/>
                <a:moveTo>
                  <a:pt x="124575" y="27123"/>
                </a:moveTo>
                <a:lnTo>
                  <a:pt x="123575" y="32909"/>
                </a:lnTo>
                <a:lnTo>
                  <a:pt x="92512" y="32909"/>
                </a:lnTo>
                <a:lnTo>
                  <a:pt x="95619" y="27123"/>
                </a:lnTo>
                <a:close/>
                <a:moveTo>
                  <a:pt x="159306" y="27123"/>
                </a:moveTo>
                <a:lnTo>
                  <a:pt x="160306" y="32909"/>
                </a:lnTo>
                <a:lnTo>
                  <a:pt x="125444" y="32909"/>
                </a:lnTo>
                <a:lnTo>
                  <a:pt x="126444" y="27123"/>
                </a:lnTo>
                <a:close/>
                <a:moveTo>
                  <a:pt x="190131" y="27123"/>
                </a:moveTo>
                <a:lnTo>
                  <a:pt x="193238" y="32909"/>
                </a:lnTo>
                <a:lnTo>
                  <a:pt x="162175" y="32909"/>
                </a:lnTo>
                <a:lnTo>
                  <a:pt x="161187" y="27123"/>
                </a:lnTo>
                <a:close/>
                <a:moveTo>
                  <a:pt x="219230" y="27123"/>
                </a:moveTo>
                <a:lnTo>
                  <a:pt x="224385" y="32909"/>
                </a:lnTo>
                <a:lnTo>
                  <a:pt x="195263" y="32909"/>
                </a:lnTo>
                <a:lnTo>
                  <a:pt x="192155" y="27123"/>
                </a:lnTo>
                <a:close/>
                <a:moveTo>
                  <a:pt x="251270" y="27123"/>
                </a:moveTo>
                <a:lnTo>
                  <a:pt x="258378" y="32909"/>
                </a:lnTo>
                <a:lnTo>
                  <a:pt x="226683" y="32909"/>
                </a:lnTo>
                <a:lnTo>
                  <a:pt x="221516" y="27123"/>
                </a:lnTo>
                <a:close/>
                <a:moveTo>
                  <a:pt x="57733" y="34421"/>
                </a:moveTo>
                <a:lnTo>
                  <a:pt x="49959" y="43136"/>
                </a:lnTo>
                <a:lnTo>
                  <a:pt x="14823" y="43136"/>
                </a:lnTo>
                <a:lnTo>
                  <a:pt x="25527" y="34421"/>
                </a:lnTo>
                <a:close/>
                <a:moveTo>
                  <a:pt x="89690" y="34421"/>
                </a:moveTo>
                <a:lnTo>
                  <a:pt x="85011" y="43136"/>
                </a:lnTo>
                <a:lnTo>
                  <a:pt x="52245" y="43136"/>
                </a:lnTo>
                <a:lnTo>
                  <a:pt x="60008" y="34421"/>
                </a:lnTo>
                <a:close/>
                <a:moveTo>
                  <a:pt x="123325" y="34421"/>
                </a:moveTo>
                <a:lnTo>
                  <a:pt x="121813" y="43136"/>
                </a:lnTo>
                <a:lnTo>
                  <a:pt x="87035" y="43136"/>
                </a:lnTo>
                <a:lnTo>
                  <a:pt x="91714" y="34421"/>
                </a:lnTo>
                <a:close/>
                <a:moveTo>
                  <a:pt x="160556" y="34421"/>
                </a:moveTo>
                <a:lnTo>
                  <a:pt x="162056" y="43136"/>
                </a:lnTo>
                <a:lnTo>
                  <a:pt x="123694" y="43136"/>
                </a:lnTo>
                <a:lnTo>
                  <a:pt x="125194" y="34421"/>
                </a:lnTo>
                <a:close/>
                <a:moveTo>
                  <a:pt x="194048" y="34421"/>
                </a:moveTo>
                <a:lnTo>
                  <a:pt x="198715" y="43136"/>
                </a:lnTo>
                <a:lnTo>
                  <a:pt x="163937" y="43136"/>
                </a:lnTo>
                <a:lnTo>
                  <a:pt x="162437" y="34421"/>
                </a:lnTo>
                <a:close/>
                <a:moveTo>
                  <a:pt x="225731" y="34421"/>
                </a:moveTo>
                <a:lnTo>
                  <a:pt x="233493" y="43136"/>
                </a:lnTo>
                <a:lnTo>
                  <a:pt x="200739" y="43136"/>
                </a:lnTo>
                <a:lnTo>
                  <a:pt x="196072" y="34421"/>
                </a:lnTo>
                <a:close/>
                <a:moveTo>
                  <a:pt x="260223" y="34421"/>
                </a:moveTo>
                <a:lnTo>
                  <a:pt x="270927" y="43136"/>
                </a:lnTo>
                <a:lnTo>
                  <a:pt x="235791" y="43136"/>
                </a:lnTo>
                <a:lnTo>
                  <a:pt x="228017" y="34421"/>
                </a:lnTo>
                <a:close/>
                <a:moveTo>
                  <a:pt x="84201" y="44637"/>
                </a:moveTo>
                <a:lnTo>
                  <a:pt x="78403" y="55447"/>
                </a:lnTo>
                <a:lnTo>
                  <a:pt x="41267" y="55447"/>
                </a:lnTo>
                <a:lnTo>
                  <a:pt x="50911" y="44637"/>
                </a:lnTo>
                <a:close/>
                <a:moveTo>
                  <a:pt x="121563" y="44637"/>
                </a:moveTo>
                <a:lnTo>
                  <a:pt x="119705" y="55447"/>
                </a:lnTo>
                <a:lnTo>
                  <a:pt x="80427" y="55447"/>
                </a:lnTo>
                <a:lnTo>
                  <a:pt x="86237" y="44637"/>
                </a:lnTo>
                <a:close/>
                <a:moveTo>
                  <a:pt x="162330" y="44637"/>
                </a:moveTo>
                <a:lnTo>
                  <a:pt x="164187" y="55447"/>
                </a:lnTo>
                <a:lnTo>
                  <a:pt x="121575" y="55447"/>
                </a:lnTo>
                <a:lnTo>
                  <a:pt x="123444" y="44637"/>
                </a:lnTo>
                <a:close/>
                <a:moveTo>
                  <a:pt x="199525" y="44637"/>
                </a:moveTo>
                <a:lnTo>
                  <a:pt x="205323" y="55447"/>
                </a:lnTo>
                <a:lnTo>
                  <a:pt x="166045" y="55447"/>
                </a:lnTo>
                <a:lnTo>
                  <a:pt x="164187" y="44637"/>
                </a:lnTo>
                <a:close/>
                <a:moveTo>
                  <a:pt x="234839" y="44637"/>
                </a:moveTo>
                <a:lnTo>
                  <a:pt x="244483" y="55447"/>
                </a:lnTo>
                <a:lnTo>
                  <a:pt x="207347" y="55447"/>
                </a:lnTo>
                <a:lnTo>
                  <a:pt x="201549" y="44637"/>
                </a:lnTo>
                <a:close/>
                <a:moveTo>
                  <a:pt x="22027" y="0"/>
                </a:moveTo>
                <a:lnTo>
                  <a:pt x="0" y="11335"/>
                </a:lnTo>
                <a:lnTo>
                  <a:pt x="0" y="14240"/>
                </a:lnTo>
                <a:lnTo>
                  <a:pt x="21384" y="14240"/>
                </a:lnTo>
                <a:lnTo>
                  <a:pt x="13871" y="19003"/>
                </a:lnTo>
                <a:lnTo>
                  <a:pt x="0" y="18979"/>
                </a:lnTo>
                <a:lnTo>
                  <a:pt x="0" y="20491"/>
                </a:lnTo>
                <a:lnTo>
                  <a:pt x="11501" y="20503"/>
                </a:lnTo>
                <a:lnTo>
                  <a:pt x="3381" y="25634"/>
                </a:lnTo>
                <a:lnTo>
                  <a:pt x="0" y="25634"/>
                </a:lnTo>
                <a:lnTo>
                  <a:pt x="0" y="27134"/>
                </a:lnTo>
                <a:lnTo>
                  <a:pt x="1012" y="27134"/>
                </a:lnTo>
                <a:lnTo>
                  <a:pt x="0" y="27765"/>
                </a:lnTo>
                <a:lnTo>
                  <a:pt x="0" y="29670"/>
                </a:lnTo>
                <a:lnTo>
                  <a:pt x="4036" y="27123"/>
                </a:lnTo>
                <a:lnTo>
                  <a:pt x="31861" y="27123"/>
                </a:lnTo>
                <a:lnTo>
                  <a:pt x="24753" y="32909"/>
                </a:lnTo>
                <a:lnTo>
                  <a:pt x="0" y="32909"/>
                </a:lnTo>
                <a:lnTo>
                  <a:pt x="0" y="34409"/>
                </a:lnTo>
                <a:lnTo>
                  <a:pt x="22908" y="34409"/>
                </a:lnTo>
                <a:lnTo>
                  <a:pt x="12204" y="43136"/>
                </a:lnTo>
                <a:lnTo>
                  <a:pt x="0" y="43136"/>
                </a:lnTo>
                <a:lnTo>
                  <a:pt x="0" y="44637"/>
                </a:lnTo>
                <a:lnTo>
                  <a:pt x="10358" y="44637"/>
                </a:lnTo>
                <a:lnTo>
                  <a:pt x="0" y="53066"/>
                </a:lnTo>
                <a:lnTo>
                  <a:pt x="0" y="55197"/>
                </a:lnTo>
                <a:lnTo>
                  <a:pt x="12978" y="44625"/>
                </a:lnTo>
                <a:lnTo>
                  <a:pt x="48625" y="44625"/>
                </a:lnTo>
                <a:lnTo>
                  <a:pt x="38981" y="55436"/>
                </a:lnTo>
                <a:lnTo>
                  <a:pt x="0" y="55436"/>
                </a:lnTo>
                <a:lnTo>
                  <a:pt x="0" y="56936"/>
                </a:lnTo>
                <a:lnTo>
                  <a:pt x="37636" y="56936"/>
                </a:lnTo>
                <a:lnTo>
                  <a:pt x="31004" y="64389"/>
                </a:lnTo>
                <a:lnTo>
                  <a:pt x="33290" y="64389"/>
                </a:lnTo>
                <a:lnTo>
                  <a:pt x="39934" y="56936"/>
                </a:lnTo>
                <a:lnTo>
                  <a:pt x="77605" y="56936"/>
                </a:lnTo>
                <a:lnTo>
                  <a:pt x="73593" y="64389"/>
                </a:lnTo>
                <a:lnTo>
                  <a:pt x="75617" y="64389"/>
                </a:lnTo>
                <a:lnTo>
                  <a:pt x="79629" y="56936"/>
                </a:lnTo>
                <a:lnTo>
                  <a:pt x="119432" y="56936"/>
                </a:lnTo>
                <a:lnTo>
                  <a:pt x="118158" y="64389"/>
                </a:lnTo>
                <a:lnTo>
                  <a:pt x="120027" y="64389"/>
                </a:lnTo>
                <a:lnTo>
                  <a:pt x="121313" y="56936"/>
                </a:lnTo>
                <a:lnTo>
                  <a:pt x="164425" y="56936"/>
                </a:lnTo>
                <a:lnTo>
                  <a:pt x="165699" y="64389"/>
                </a:lnTo>
                <a:lnTo>
                  <a:pt x="167580" y="64389"/>
                </a:lnTo>
                <a:lnTo>
                  <a:pt x="166295" y="56936"/>
                </a:lnTo>
                <a:lnTo>
                  <a:pt x="206133" y="56936"/>
                </a:lnTo>
                <a:lnTo>
                  <a:pt x="210133" y="64389"/>
                </a:lnTo>
                <a:lnTo>
                  <a:pt x="212157" y="64389"/>
                </a:lnTo>
                <a:lnTo>
                  <a:pt x="208157" y="56936"/>
                </a:lnTo>
                <a:lnTo>
                  <a:pt x="245805" y="56936"/>
                </a:lnTo>
                <a:lnTo>
                  <a:pt x="252436" y="64389"/>
                </a:lnTo>
                <a:lnTo>
                  <a:pt x="254734" y="64389"/>
                </a:lnTo>
                <a:lnTo>
                  <a:pt x="248102" y="56936"/>
                </a:lnTo>
                <a:lnTo>
                  <a:pt x="285750" y="56936"/>
                </a:lnTo>
                <a:lnTo>
                  <a:pt x="285750" y="55424"/>
                </a:lnTo>
                <a:lnTo>
                  <a:pt x="246769" y="55424"/>
                </a:lnTo>
                <a:lnTo>
                  <a:pt x="237125" y="44625"/>
                </a:lnTo>
                <a:lnTo>
                  <a:pt x="272772" y="44625"/>
                </a:lnTo>
                <a:lnTo>
                  <a:pt x="285750" y="55186"/>
                </a:lnTo>
                <a:lnTo>
                  <a:pt x="285750" y="53066"/>
                </a:lnTo>
                <a:lnTo>
                  <a:pt x="275392" y="44625"/>
                </a:lnTo>
                <a:lnTo>
                  <a:pt x="285750" y="44625"/>
                </a:lnTo>
                <a:lnTo>
                  <a:pt x="285750" y="43125"/>
                </a:lnTo>
                <a:lnTo>
                  <a:pt x="273546" y="43125"/>
                </a:lnTo>
                <a:lnTo>
                  <a:pt x="262842" y="34397"/>
                </a:lnTo>
                <a:lnTo>
                  <a:pt x="285750" y="34397"/>
                </a:lnTo>
                <a:lnTo>
                  <a:pt x="285750" y="32897"/>
                </a:lnTo>
                <a:lnTo>
                  <a:pt x="260997" y="32897"/>
                </a:lnTo>
                <a:lnTo>
                  <a:pt x="253889" y="27111"/>
                </a:lnTo>
                <a:lnTo>
                  <a:pt x="281714" y="27111"/>
                </a:lnTo>
                <a:lnTo>
                  <a:pt x="285738" y="29647"/>
                </a:lnTo>
                <a:lnTo>
                  <a:pt x="285738" y="27742"/>
                </a:lnTo>
                <a:lnTo>
                  <a:pt x="284726" y="27111"/>
                </a:lnTo>
                <a:lnTo>
                  <a:pt x="285738" y="27111"/>
                </a:lnTo>
                <a:lnTo>
                  <a:pt x="285738" y="25599"/>
                </a:lnTo>
                <a:lnTo>
                  <a:pt x="282357" y="25599"/>
                </a:lnTo>
                <a:lnTo>
                  <a:pt x="274606" y="20693"/>
                </a:lnTo>
                <a:lnTo>
                  <a:pt x="274606" y="20693"/>
                </a:lnTo>
                <a:lnTo>
                  <a:pt x="285738" y="20705"/>
                </a:lnTo>
                <a:lnTo>
                  <a:pt x="285738" y="19205"/>
                </a:lnTo>
                <a:lnTo>
                  <a:pt x="272225" y="19193"/>
                </a:lnTo>
                <a:lnTo>
                  <a:pt x="264331" y="14204"/>
                </a:lnTo>
                <a:lnTo>
                  <a:pt x="285750" y="14204"/>
                </a:lnTo>
                <a:lnTo>
                  <a:pt x="285750" y="11299"/>
                </a:lnTo>
                <a:lnTo>
                  <a:pt x="263950" y="119"/>
                </a:lnTo>
                <a:lnTo>
                  <a:pt x="263723" y="0"/>
                </a:lnTo>
                <a:close/>
              </a:path>
            </a:pathLst>
          </a:custGeom>
          <a:gradFill>
            <a:gsLst>
              <a:gs pos="0">
                <a:srgbClr val="E5E1CC">
                  <a:alpha val="0"/>
                </a:srgbClr>
              </a:gs>
              <a:gs pos="50000">
                <a:srgbClr val="9B1135">
                  <a:alpha val="58431"/>
                </a:srgbClr>
              </a:gs>
              <a:gs pos="100000">
                <a:schemeClr val="accent2"/>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8" name="Google Shape;478;p27"/>
          <p:cNvGrpSpPr/>
          <p:nvPr/>
        </p:nvGrpSpPr>
        <p:grpSpPr>
          <a:xfrm>
            <a:off x="75" y="2750700"/>
            <a:ext cx="9144000" cy="1148475"/>
            <a:chOff x="75" y="3985500"/>
            <a:chExt cx="9144000" cy="1148475"/>
          </a:xfrm>
        </p:grpSpPr>
        <p:sp>
          <p:nvSpPr>
            <p:cNvPr id="479" name="Google Shape;479;p27"/>
            <p:cNvSpPr/>
            <p:nvPr/>
          </p:nvSpPr>
          <p:spPr>
            <a:xfrm>
              <a:off x="75" y="3985500"/>
              <a:ext cx="9144000" cy="2922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480;p27"/>
            <p:cNvSpPr/>
            <p:nvPr/>
          </p:nvSpPr>
          <p:spPr>
            <a:xfrm>
              <a:off x="75" y="4272300"/>
              <a:ext cx="9144000" cy="292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481;p27"/>
            <p:cNvSpPr/>
            <p:nvPr/>
          </p:nvSpPr>
          <p:spPr>
            <a:xfrm>
              <a:off x="75" y="4552275"/>
              <a:ext cx="9144000" cy="29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75" y="4841775"/>
              <a:ext cx="9144000" cy="2922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83" name="Google Shape;483;p27"/>
          <p:cNvSpPr/>
          <p:nvPr/>
        </p:nvSpPr>
        <p:spPr>
          <a:xfrm>
            <a:off x="722375" y="2055300"/>
            <a:ext cx="7708500" cy="2548800"/>
          </a:xfrm>
          <a:prstGeom prst="roundRect">
            <a:avLst>
              <a:gd name="adj" fmla="val 8698"/>
            </a:avLst>
          </a:prstGeom>
          <a:solidFill>
            <a:schemeClr val="dk1"/>
          </a:solidFill>
          <a:ln w="1905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484;p27"/>
          <p:cNvSpPr txBox="1">
            <a:spLocks noGrp="1"/>
          </p:cNvSpPr>
          <p:nvPr>
            <p:ph type="title"/>
          </p:nvPr>
        </p:nvSpPr>
        <p:spPr>
          <a:xfrm>
            <a:off x="713100" y="381200"/>
            <a:ext cx="6271500" cy="932400"/>
          </a:xfrm>
          <a:prstGeom prst="rect">
            <a:avLst/>
          </a:prstGeom>
        </p:spPr>
        <p:txBody>
          <a:bodyPr spcFirstLastPara="1" wrap="square" lIns="91425" tIns="91425" rIns="91425" bIns="91425" anchor="t" anchorCtr="0">
            <a:noAutofit/>
          </a:bodyPr>
          <a:lstStyle>
            <a:lvl1pPr lvl="0" algn="l" rtl="0">
              <a:spcBef>
                <a:spcPts val="0"/>
              </a:spcBef>
              <a:spcAft>
                <a:spcPts val="0"/>
              </a:spcAft>
              <a:buNone/>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485" name="Google Shape;485;p27"/>
          <p:cNvSpPr txBox="1">
            <a:spLocks noGrp="1"/>
          </p:cNvSpPr>
          <p:nvPr>
            <p:ph type="subTitle" idx="1"/>
          </p:nvPr>
        </p:nvSpPr>
        <p:spPr>
          <a:xfrm>
            <a:off x="794175" y="2288700"/>
            <a:ext cx="2242800" cy="402300"/>
          </a:xfrm>
          <a:prstGeom prst="rect">
            <a:avLst/>
          </a:prstGeom>
        </p:spPr>
        <p:txBody>
          <a:bodyPr spcFirstLastPara="1" wrap="square" lIns="91425" tIns="91425" rIns="91425" bIns="91425" anchor="b" anchorCtr="0">
            <a:noAutofit/>
          </a:bodyPr>
          <a:lstStyle>
            <a:lvl1pPr lvl="0" rtl="0">
              <a:spcBef>
                <a:spcPts val="0"/>
              </a:spcBef>
              <a:spcAft>
                <a:spcPts val="0"/>
              </a:spcAft>
              <a:buNone/>
              <a:defRPr b="1">
                <a:latin typeface="Archivo Black"/>
                <a:ea typeface="Archivo Black"/>
                <a:cs typeface="Archivo Black"/>
                <a:sym typeface="Archivo Black"/>
              </a:defRPr>
            </a:lvl1pPr>
            <a:lvl2pPr lvl="1" rtl="0">
              <a:spcBef>
                <a:spcPts val="1200"/>
              </a:spcBef>
              <a:spcAft>
                <a:spcPts val="0"/>
              </a:spcAft>
              <a:buNone/>
              <a:defRPr b="1">
                <a:latin typeface="Archivo Black"/>
                <a:ea typeface="Archivo Black"/>
                <a:cs typeface="Archivo Black"/>
                <a:sym typeface="Archivo Black"/>
              </a:defRPr>
            </a:lvl2pPr>
            <a:lvl3pPr lvl="2" rtl="0">
              <a:spcBef>
                <a:spcPts val="1200"/>
              </a:spcBef>
              <a:spcAft>
                <a:spcPts val="0"/>
              </a:spcAft>
              <a:buNone/>
              <a:defRPr b="1">
                <a:latin typeface="Archivo Black"/>
                <a:ea typeface="Archivo Black"/>
                <a:cs typeface="Archivo Black"/>
                <a:sym typeface="Archivo Black"/>
              </a:defRPr>
            </a:lvl3pPr>
            <a:lvl4pPr lvl="3" rtl="0">
              <a:spcBef>
                <a:spcPts val="1200"/>
              </a:spcBef>
              <a:spcAft>
                <a:spcPts val="0"/>
              </a:spcAft>
              <a:buNone/>
              <a:defRPr b="1">
                <a:latin typeface="Archivo Black"/>
                <a:ea typeface="Archivo Black"/>
                <a:cs typeface="Archivo Black"/>
                <a:sym typeface="Archivo Black"/>
              </a:defRPr>
            </a:lvl4pPr>
            <a:lvl5pPr lvl="4" rtl="0">
              <a:spcBef>
                <a:spcPts val="1200"/>
              </a:spcBef>
              <a:spcAft>
                <a:spcPts val="0"/>
              </a:spcAft>
              <a:buNone/>
              <a:defRPr b="1">
                <a:latin typeface="Archivo Black"/>
                <a:ea typeface="Archivo Black"/>
                <a:cs typeface="Archivo Black"/>
                <a:sym typeface="Archivo Black"/>
              </a:defRPr>
            </a:lvl5pPr>
            <a:lvl6pPr lvl="5" rtl="0">
              <a:spcBef>
                <a:spcPts val="1200"/>
              </a:spcBef>
              <a:spcAft>
                <a:spcPts val="0"/>
              </a:spcAft>
              <a:buNone/>
              <a:defRPr b="1">
                <a:latin typeface="Archivo Black"/>
                <a:ea typeface="Archivo Black"/>
                <a:cs typeface="Archivo Black"/>
                <a:sym typeface="Archivo Black"/>
              </a:defRPr>
            </a:lvl6pPr>
            <a:lvl7pPr lvl="6" rtl="0">
              <a:spcBef>
                <a:spcPts val="1200"/>
              </a:spcBef>
              <a:spcAft>
                <a:spcPts val="0"/>
              </a:spcAft>
              <a:buNone/>
              <a:defRPr b="1">
                <a:latin typeface="Archivo Black"/>
                <a:ea typeface="Archivo Black"/>
                <a:cs typeface="Archivo Black"/>
                <a:sym typeface="Archivo Black"/>
              </a:defRPr>
            </a:lvl7pPr>
            <a:lvl8pPr lvl="7" rtl="0">
              <a:spcBef>
                <a:spcPts val="1200"/>
              </a:spcBef>
              <a:spcAft>
                <a:spcPts val="0"/>
              </a:spcAft>
              <a:buNone/>
              <a:defRPr b="1">
                <a:latin typeface="Archivo Black"/>
                <a:ea typeface="Archivo Black"/>
                <a:cs typeface="Archivo Black"/>
                <a:sym typeface="Archivo Black"/>
              </a:defRPr>
            </a:lvl8pPr>
            <a:lvl9pPr lvl="8" rtl="0">
              <a:spcBef>
                <a:spcPts val="1200"/>
              </a:spcBef>
              <a:spcAft>
                <a:spcPts val="1200"/>
              </a:spcAft>
              <a:buNone/>
              <a:defRPr b="1">
                <a:latin typeface="Archivo Black"/>
                <a:ea typeface="Archivo Black"/>
                <a:cs typeface="Archivo Black"/>
                <a:sym typeface="Archivo Black"/>
              </a:defRPr>
            </a:lvl9pPr>
          </a:lstStyle>
          <a:p>
            <a:endParaRPr/>
          </a:p>
        </p:txBody>
      </p:sp>
      <p:sp>
        <p:nvSpPr>
          <p:cNvPr id="486" name="Google Shape;486;p27"/>
          <p:cNvSpPr txBox="1">
            <a:spLocks noGrp="1"/>
          </p:cNvSpPr>
          <p:nvPr>
            <p:ph type="subTitle" idx="2"/>
          </p:nvPr>
        </p:nvSpPr>
        <p:spPr>
          <a:xfrm>
            <a:off x="794175" y="2617125"/>
            <a:ext cx="2242800" cy="655200"/>
          </a:xfrm>
          <a:prstGeom prst="rect">
            <a:avLst/>
          </a:prstGeom>
        </p:spPr>
        <p:txBody>
          <a:bodyPr spcFirstLastPara="1" wrap="square" lIns="91425" tIns="91425" rIns="91425" bIns="91425" anchor="t" anchorCtr="0">
            <a:noAutofit/>
          </a:bodyPr>
          <a:lstStyle>
            <a:lvl1pPr lvl="0" rtl="0">
              <a:spcBef>
                <a:spcPts val="0"/>
              </a:spcBef>
              <a:spcAft>
                <a:spcPts val="0"/>
              </a:spcAft>
              <a:buNone/>
              <a:defRPr sz="1400"/>
            </a:lvl1pPr>
            <a:lvl2pPr lvl="1" rtl="0">
              <a:spcBef>
                <a:spcPts val="1200"/>
              </a:spcBef>
              <a:spcAft>
                <a:spcPts val="0"/>
              </a:spcAft>
              <a:buNone/>
              <a:defRPr sz="1400" b="1"/>
            </a:lvl2pPr>
            <a:lvl3pPr lvl="2" rtl="0">
              <a:spcBef>
                <a:spcPts val="1200"/>
              </a:spcBef>
              <a:spcAft>
                <a:spcPts val="0"/>
              </a:spcAft>
              <a:buNone/>
              <a:defRPr sz="1400" b="1"/>
            </a:lvl3pPr>
            <a:lvl4pPr lvl="3" rtl="0">
              <a:spcBef>
                <a:spcPts val="1200"/>
              </a:spcBef>
              <a:spcAft>
                <a:spcPts val="0"/>
              </a:spcAft>
              <a:buNone/>
              <a:defRPr sz="1400" b="1"/>
            </a:lvl4pPr>
            <a:lvl5pPr lvl="4" rtl="0">
              <a:spcBef>
                <a:spcPts val="1200"/>
              </a:spcBef>
              <a:spcAft>
                <a:spcPts val="0"/>
              </a:spcAft>
              <a:buNone/>
              <a:defRPr sz="1400" b="1"/>
            </a:lvl5pPr>
            <a:lvl6pPr lvl="5" rtl="0">
              <a:spcBef>
                <a:spcPts val="1200"/>
              </a:spcBef>
              <a:spcAft>
                <a:spcPts val="0"/>
              </a:spcAft>
              <a:buNone/>
              <a:defRPr sz="1400" b="1"/>
            </a:lvl6pPr>
            <a:lvl7pPr lvl="6" rtl="0">
              <a:spcBef>
                <a:spcPts val="1200"/>
              </a:spcBef>
              <a:spcAft>
                <a:spcPts val="0"/>
              </a:spcAft>
              <a:buNone/>
              <a:defRPr sz="1400" b="1"/>
            </a:lvl7pPr>
            <a:lvl8pPr lvl="7" rtl="0">
              <a:spcBef>
                <a:spcPts val="1200"/>
              </a:spcBef>
              <a:spcAft>
                <a:spcPts val="0"/>
              </a:spcAft>
              <a:buNone/>
              <a:defRPr sz="1400" b="1"/>
            </a:lvl8pPr>
            <a:lvl9pPr lvl="8" rtl="0">
              <a:spcBef>
                <a:spcPts val="1200"/>
              </a:spcBef>
              <a:spcAft>
                <a:spcPts val="1200"/>
              </a:spcAft>
              <a:buNone/>
              <a:defRPr sz="1400" b="1"/>
            </a:lvl9pPr>
          </a:lstStyle>
          <a:p>
            <a:endParaRPr/>
          </a:p>
        </p:txBody>
      </p:sp>
      <p:sp>
        <p:nvSpPr>
          <p:cNvPr id="487" name="Google Shape;487;p27"/>
          <p:cNvSpPr txBox="1">
            <a:spLocks noGrp="1"/>
          </p:cNvSpPr>
          <p:nvPr>
            <p:ph type="subTitle" idx="3"/>
          </p:nvPr>
        </p:nvSpPr>
        <p:spPr>
          <a:xfrm>
            <a:off x="3450675" y="2288700"/>
            <a:ext cx="2242800" cy="402300"/>
          </a:xfrm>
          <a:prstGeom prst="rect">
            <a:avLst/>
          </a:prstGeom>
        </p:spPr>
        <p:txBody>
          <a:bodyPr spcFirstLastPara="1" wrap="square" lIns="91425" tIns="91425" rIns="91425" bIns="91425" anchor="b" anchorCtr="0">
            <a:noAutofit/>
          </a:bodyPr>
          <a:lstStyle>
            <a:lvl1pPr lvl="0" rtl="0">
              <a:spcBef>
                <a:spcPts val="0"/>
              </a:spcBef>
              <a:spcAft>
                <a:spcPts val="0"/>
              </a:spcAft>
              <a:buNone/>
              <a:defRPr b="1">
                <a:latin typeface="Archivo Black"/>
                <a:ea typeface="Archivo Black"/>
                <a:cs typeface="Archivo Black"/>
                <a:sym typeface="Archivo Black"/>
              </a:defRPr>
            </a:lvl1pPr>
            <a:lvl2pPr lvl="1" rtl="0">
              <a:spcBef>
                <a:spcPts val="1200"/>
              </a:spcBef>
              <a:spcAft>
                <a:spcPts val="0"/>
              </a:spcAft>
              <a:buNone/>
              <a:defRPr b="1">
                <a:latin typeface="Archivo Black"/>
                <a:ea typeface="Archivo Black"/>
                <a:cs typeface="Archivo Black"/>
                <a:sym typeface="Archivo Black"/>
              </a:defRPr>
            </a:lvl2pPr>
            <a:lvl3pPr lvl="2" rtl="0">
              <a:spcBef>
                <a:spcPts val="1200"/>
              </a:spcBef>
              <a:spcAft>
                <a:spcPts val="0"/>
              </a:spcAft>
              <a:buNone/>
              <a:defRPr b="1">
                <a:latin typeface="Archivo Black"/>
                <a:ea typeface="Archivo Black"/>
                <a:cs typeface="Archivo Black"/>
                <a:sym typeface="Archivo Black"/>
              </a:defRPr>
            </a:lvl3pPr>
            <a:lvl4pPr lvl="3" rtl="0">
              <a:spcBef>
                <a:spcPts val="1200"/>
              </a:spcBef>
              <a:spcAft>
                <a:spcPts val="0"/>
              </a:spcAft>
              <a:buNone/>
              <a:defRPr b="1">
                <a:latin typeface="Archivo Black"/>
                <a:ea typeface="Archivo Black"/>
                <a:cs typeface="Archivo Black"/>
                <a:sym typeface="Archivo Black"/>
              </a:defRPr>
            </a:lvl4pPr>
            <a:lvl5pPr lvl="4" rtl="0">
              <a:spcBef>
                <a:spcPts val="1200"/>
              </a:spcBef>
              <a:spcAft>
                <a:spcPts val="0"/>
              </a:spcAft>
              <a:buNone/>
              <a:defRPr b="1">
                <a:latin typeface="Archivo Black"/>
                <a:ea typeface="Archivo Black"/>
                <a:cs typeface="Archivo Black"/>
                <a:sym typeface="Archivo Black"/>
              </a:defRPr>
            </a:lvl5pPr>
            <a:lvl6pPr lvl="5" rtl="0">
              <a:spcBef>
                <a:spcPts val="1200"/>
              </a:spcBef>
              <a:spcAft>
                <a:spcPts val="0"/>
              </a:spcAft>
              <a:buNone/>
              <a:defRPr b="1">
                <a:latin typeface="Archivo Black"/>
                <a:ea typeface="Archivo Black"/>
                <a:cs typeface="Archivo Black"/>
                <a:sym typeface="Archivo Black"/>
              </a:defRPr>
            </a:lvl6pPr>
            <a:lvl7pPr lvl="6" rtl="0">
              <a:spcBef>
                <a:spcPts val="1200"/>
              </a:spcBef>
              <a:spcAft>
                <a:spcPts val="0"/>
              </a:spcAft>
              <a:buNone/>
              <a:defRPr b="1">
                <a:latin typeface="Archivo Black"/>
                <a:ea typeface="Archivo Black"/>
                <a:cs typeface="Archivo Black"/>
                <a:sym typeface="Archivo Black"/>
              </a:defRPr>
            </a:lvl7pPr>
            <a:lvl8pPr lvl="7" rtl="0">
              <a:spcBef>
                <a:spcPts val="1200"/>
              </a:spcBef>
              <a:spcAft>
                <a:spcPts val="0"/>
              </a:spcAft>
              <a:buNone/>
              <a:defRPr b="1">
                <a:latin typeface="Archivo Black"/>
                <a:ea typeface="Archivo Black"/>
                <a:cs typeface="Archivo Black"/>
                <a:sym typeface="Archivo Black"/>
              </a:defRPr>
            </a:lvl8pPr>
            <a:lvl9pPr lvl="8" rtl="0">
              <a:spcBef>
                <a:spcPts val="1200"/>
              </a:spcBef>
              <a:spcAft>
                <a:spcPts val="1200"/>
              </a:spcAft>
              <a:buNone/>
              <a:defRPr b="1">
                <a:latin typeface="Archivo Black"/>
                <a:ea typeface="Archivo Black"/>
                <a:cs typeface="Archivo Black"/>
                <a:sym typeface="Archivo Black"/>
              </a:defRPr>
            </a:lvl9pPr>
          </a:lstStyle>
          <a:p>
            <a:endParaRPr/>
          </a:p>
        </p:txBody>
      </p:sp>
      <p:sp>
        <p:nvSpPr>
          <p:cNvPr id="488" name="Google Shape;488;p27"/>
          <p:cNvSpPr txBox="1">
            <a:spLocks noGrp="1"/>
          </p:cNvSpPr>
          <p:nvPr>
            <p:ph type="subTitle" idx="4"/>
          </p:nvPr>
        </p:nvSpPr>
        <p:spPr>
          <a:xfrm>
            <a:off x="3450675" y="2617125"/>
            <a:ext cx="2242800" cy="655200"/>
          </a:xfrm>
          <a:prstGeom prst="rect">
            <a:avLst/>
          </a:prstGeom>
        </p:spPr>
        <p:txBody>
          <a:bodyPr spcFirstLastPara="1" wrap="square" lIns="91425" tIns="91425" rIns="91425" bIns="91425" anchor="t" anchorCtr="0">
            <a:noAutofit/>
          </a:bodyPr>
          <a:lstStyle>
            <a:lvl1pPr lvl="0" rtl="0">
              <a:spcBef>
                <a:spcPts val="0"/>
              </a:spcBef>
              <a:spcAft>
                <a:spcPts val="0"/>
              </a:spcAft>
              <a:buNone/>
              <a:defRPr sz="1400"/>
            </a:lvl1pPr>
            <a:lvl2pPr lvl="1" rtl="0">
              <a:spcBef>
                <a:spcPts val="1200"/>
              </a:spcBef>
              <a:spcAft>
                <a:spcPts val="0"/>
              </a:spcAft>
              <a:buNone/>
              <a:defRPr sz="1400" b="1"/>
            </a:lvl2pPr>
            <a:lvl3pPr lvl="2" rtl="0">
              <a:spcBef>
                <a:spcPts val="1200"/>
              </a:spcBef>
              <a:spcAft>
                <a:spcPts val="0"/>
              </a:spcAft>
              <a:buNone/>
              <a:defRPr sz="1400" b="1"/>
            </a:lvl3pPr>
            <a:lvl4pPr lvl="3" rtl="0">
              <a:spcBef>
                <a:spcPts val="1200"/>
              </a:spcBef>
              <a:spcAft>
                <a:spcPts val="0"/>
              </a:spcAft>
              <a:buNone/>
              <a:defRPr sz="1400" b="1"/>
            </a:lvl4pPr>
            <a:lvl5pPr lvl="4" rtl="0">
              <a:spcBef>
                <a:spcPts val="1200"/>
              </a:spcBef>
              <a:spcAft>
                <a:spcPts val="0"/>
              </a:spcAft>
              <a:buNone/>
              <a:defRPr sz="1400" b="1"/>
            </a:lvl5pPr>
            <a:lvl6pPr lvl="5" rtl="0">
              <a:spcBef>
                <a:spcPts val="1200"/>
              </a:spcBef>
              <a:spcAft>
                <a:spcPts val="0"/>
              </a:spcAft>
              <a:buNone/>
              <a:defRPr sz="1400" b="1"/>
            </a:lvl6pPr>
            <a:lvl7pPr lvl="6" rtl="0">
              <a:spcBef>
                <a:spcPts val="1200"/>
              </a:spcBef>
              <a:spcAft>
                <a:spcPts val="0"/>
              </a:spcAft>
              <a:buNone/>
              <a:defRPr sz="1400" b="1"/>
            </a:lvl7pPr>
            <a:lvl8pPr lvl="7" rtl="0">
              <a:spcBef>
                <a:spcPts val="1200"/>
              </a:spcBef>
              <a:spcAft>
                <a:spcPts val="0"/>
              </a:spcAft>
              <a:buNone/>
              <a:defRPr sz="1400" b="1"/>
            </a:lvl8pPr>
            <a:lvl9pPr lvl="8" rtl="0">
              <a:spcBef>
                <a:spcPts val="1200"/>
              </a:spcBef>
              <a:spcAft>
                <a:spcPts val="1200"/>
              </a:spcAft>
              <a:buNone/>
              <a:defRPr sz="1400" b="1"/>
            </a:lvl9pPr>
          </a:lstStyle>
          <a:p>
            <a:endParaRPr/>
          </a:p>
        </p:txBody>
      </p:sp>
      <p:sp>
        <p:nvSpPr>
          <p:cNvPr id="489" name="Google Shape;489;p27"/>
          <p:cNvSpPr txBox="1">
            <a:spLocks noGrp="1"/>
          </p:cNvSpPr>
          <p:nvPr>
            <p:ph type="subTitle" idx="5"/>
          </p:nvPr>
        </p:nvSpPr>
        <p:spPr>
          <a:xfrm>
            <a:off x="6107175" y="2288700"/>
            <a:ext cx="2242800" cy="402300"/>
          </a:xfrm>
          <a:prstGeom prst="rect">
            <a:avLst/>
          </a:prstGeom>
        </p:spPr>
        <p:txBody>
          <a:bodyPr spcFirstLastPara="1" wrap="square" lIns="91425" tIns="91425" rIns="91425" bIns="91425" anchor="b" anchorCtr="0">
            <a:noAutofit/>
          </a:bodyPr>
          <a:lstStyle>
            <a:lvl1pPr lvl="0" rtl="0">
              <a:spcBef>
                <a:spcPts val="0"/>
              </a:spcBef>
              <a:spcAft>
                <a:spcPts val="0"/>
              </a:spcAft>
              <a:buNone/>
              <a:defRPr b="1">
                <a:latin typeface="Archivo Black"/>
                <a:ea typeface="Archivo Black"/>
                <a:cs typeface="Archivo Black"/>
                <a:sym typeface="Archivo Black"/>
              </a:defRPr>
            </a:lvl1pPr>
            <a:lvl2pPr lvl="1" rtl="0">
              <a:spcBef>
                <a:spcPts val="1200"/>
              </a:spcBef>
              <a:spcAft>
                <a:spcPts val="0"/>
              </a:spcAft>
              <a:buNone/>
              <a:defRPr b="1">
                <a:latin typeface="Archivo Black"/>
                <a:ea typeface="Archivo Black"/>
                <a:cs typeface="Archivo Black"/>
                <a:sym typeface="Archivo Black"/>
              </a:defRPr>
            </a:lvl2pPr>
            <a:lvl3pPr lvl="2" rtl="0">
              <a:spcBef>
                <a:spcPts val="1200"/>
              </a:spcBef>
              <a:spcAft>
                <a:spcPts val="0"/>
              </a:spcAft>
              <a:buNone/>
              <a:defRPr b="1">
                <a:latin typeface="Archivo Black"/>
                <a:ea typeface="Archivo Black"/>
                <a:cs typeface="Archivo Black"/>
                <a:sym typeface="Archivo Black"/>
              </a:defRPr>
            </a:lvl3pPr>
            <a:lvl4pPr lvl="3" rtl="0">
              <a:spcBef>
                <a:spcPts val="1200"/>
              </a:spcBef>
              <a:spcAft>
                <a:spcPts val="0"/>
              </a:spcAft>
              <a:buNone/>
              <a:defRPr b="1">
                <a:latin typeface="Archivo Black"/>
                <a:ea typeface="Archivo Black"/>
                <a:cs typeface="Archivo Black"/>
                <a:sym typeface="Archivo Black"/>
              </a:defRPr>
            </a:lvl4pPr>
            <a:lvl5pPr lvl="4" rtl="0">
              <a:spcBef>
                <a:spcPts val="1200"/>
              </a:spcBef>
              <a:spcAft>
                <a:spcPts val="0"/>
              </a:spcAft>
              <a:buNone/>
              <a:defRPr b="1">
                <a:latin typeface="Archivo Black"/>
                <a:ea typeface="Archivo Black"/>
                <a:cs typeface="Archivo Black"/>
                <a:sym typeface="Archivo Black"/>
              </a:defRPr>
            </a:lvl5pPr>
            <a:lvl6pPr lvl="5" rtl="0">
              <a:spcBef>
                <a:spcPts val="1200"/>
              </a:spcBef>
              <a:spcAft>
                <a:spcPts val="0"/>
              </a:spcAft>
              <a:buNone/>
              <a:defRPr b="1">
                <a:latin typeface="Archivo Black"/>
                <a:ea typeface="Archivo Black"/>
                <a:cs typeface="Archivo Black"/>
                <a:sym typeface="Archivo Black"/>
              </a:defRPr>
            </a:lvl6pPr>
            <a:lvl7pPr lvl="6" rtl="0">
              <a:spcBef>
                <a:spcPts val="1200"/>
              </a:spcBef>
              <a:spcAft>
                <a:spcPts val="0"/>
              </a:spcAft>
              <a:buNone/>
              <a:defRPr b="1">
                <a:latin typeface="Archivo Black"/>
                <a:ea typeface="Archivo Black"/>
                <a:cs typeface="Archivo Black"/>
                <a:sym typeface="Archivo Black"/>
              </a:defRPr>
            </a:lvl7pPr>
            <a:lvl8pPr lvl="7" rtl="0">
              <a:spcBef>
                <a:spcPts val="1200"/>
              </a:spcBef>
              <a:spcAft>
                <a:spcPts val="0"/>
              </a:spcAft>
              <a:buNone/>
              <a:defRPr b="1">
                <a:latin typeface="Archivo Black"/>
                <a:ea typeface="Archivo Black"/>
                <a:cs typeface="Archivo Black"/>
                <a:sym typeface="Archivo Black"/>
              </a:defRPr>
            </a:lvl8pPr>
            <a:lvl9pPr lvl="8" rtl="0">
              <a:spcBef>
                <a:spcPts val="1200"/>
              </a:spcBef>
              <a:spcAft>
                <a:spcPts val="1200"/>
              </a:spcAft>
              <a:buNone/>
              <a:defRPr b="1">
                <a:latin typeface="Archivo Black"/>
                <a:ea typeface="Archivo Black"/>
                <a:cs typeface="Archivo Black"/>
                <a:sym typeface="Archivo Black"/>
              </a:defRPr>
            </a:lvl9pPr>
          </a:lstStyle>
          <a:p>
            <a:endParaRPr/>
          </a:p>
        </p:txBody>
      </p:sp>
      <p:sp>
        <p:nvSpPr>
          <p:cNvPr id="490" name="Google Shape;490;p27"/>
          <p:cNvSpPr txBox="1">
            <a:spLocks noGrp="1"/>
          </p:cNvSpPr>
          <p:nvPr>
            <p:ph type="subTitle" idx="6"/>
          </p:nvPr>
        </p:nvSpPr>
        <p:spPr>
          <a:xfrm>
            <a:off x="6107175" y="2617125"/>
            <a:ext cx="2242800" cy="655200"/>
          </a:xfrm>
          <a:prstGeom prst="rect">
            <a:avLst/>
          </a:prstGeom>
        </p:spPr>
        <p:txBody>
          <a:bodyPr spcFirstLastPara="1" wrap="square" lIns="91425" tIns="91425" rIns="91425" bIns="91425" anchor="t" anchorCtr="0">
            <a:noAutofit/>
          </a:bodyPr>
          <a:lstStyle>
            <a:lvl1pPr lvl="0" rtl="0">
              <a:spcBef>
                <a:spcPts val="0"/>
              </a:spcBef>
              <a:spcAft>
                <a:spcPts val="0"/>
              </a:spcAft>
              <a:buNone/>
              <a:defRPr sz="1400"/>
            </a:lvl1pPr>
            <a:lvl2pPr lvl="1" rtl="0">
              <a:spcBef>
                <a:spcPts val="1200"/>
              </a:spcBef>
              <a:spcAft>
                <a:spcPts val="0"/>
              </a:spcAft>
              <a:buNone/>
              <a:defRPr sz="1400" b="1"/>
            </a:lvl2pPr>
            <a:lvl3pPr lvl="2" rtl="0">
              <a:spcBef>
                <a:spcPts val="1200"/>
              </a:spcBef>
              <a:spcAft>
                <a:spcPts val="0"/>
              </a:spcAft>
              <a:buNone/>
              <a:defRPr sz="1400" b="1"/>
            </a:lvl3pPr>
            <a:lvl4pPr lvl="3" rtl="0">
              <a:spcBef>
                <a:spcPts val="1200"/>
              </a:spcBef>
              <a:spcAft>
                <a:spcPts val="0"/>
              </a:spcAft>
              <a:buNone/>
              <a:defRPr sz="1400" b="1"/>
            </a:lvl4pPr>
            <a:lvl5pPr lvl="4" rtl="0">
              <a:spcBef>
                <a:spcPts val="1200"/>
              </a:spcBef>
              <a:spcAft>
                <a:spcPts val="0"/>
              </a:spcAft>
              <a:buNone/>
              <a:defRPr sz="1400" b="1"/>
            </a:lvl5pPr>
            <a:lvl6pPr lvl="5" rtl="0">
              <a:spcBef>
                <a:spcPts val="1200"/>
              </a:spcBef>
              <a:spcAft>
                <a:spcPts val="0"/>
              </a:spcAft>
              <a:buNone/>
              <a:defRPr sz="1400" b="1"/>
            </a:lvl6pPr>
            <a:lvl7pPr lvl="6" rtl="0">
              <a:spcBef>
                <a:spcPts val="1200"/>
              </a:spcBef>
              <a:spcAft>
                <a:spcPts val="0"/>
              </a:spcAft>
              <a:buNone/>
              <a:defRPr sz="1400" b="1"/>
            </a:lvl7pPr>
            <a:lvl8pPr lvl="7" rtl="0">
              <a:spcBef>
                <a:spcPts val="1200"/>
              </a:spcBef>
              <a:spcAft>
                <a:spcPts val="0"/>
              </a:spcAft>
              <a:buNone/>
              <a:defRPr sz="1400" b="1"/>
            </a:lvl8pPr>
            <a:lvl9pPr lvl="8" rtl="0">
              <a:spcBef>
                <a:spcPts val="1200"/>
              </a:spcBef>
              <a:spcAft>
                <a:spcPts val="1200"/>
              </a:spcAft>
              <a:buNone/>
              <a:defRPr sz="1400" b="1"/>
            </a:lvl9pPr>
          </a:lstStyle>
          <a:p>
            <a:endParaRPr/>
          </a:p>
        </p:txBody>
      </p:sp>
      <p:sp>
        <p:nvSpPr>
          <p:cNvPr id="491" name="Google Shape;491;p27"/>
          <p:cNvSpPr txBox="1">
            <a:spLocks noGrp="1"/>
          </p:cNvSpPr>
          <p:nvPr>
            <p:ph type="subTitle" idx="7"/>
          </p:nvPr>
        </p:nvSpPr>
        <p:spPr>
          <a:xfrm>
            <a:off x="794175" y="3479953"/>
            <a:ext cx="2242800" cy="402300"/>
          </a:xfrm>
          <a:prstGeom prst="rect">
            <a:avLst/>
          </a:prstGeom>
        </p:spPr>
        <p:txBody>
          <a:bodyPr spcFirstLastPara="1" wrap="square" lIns="91425" tIns="91425" rIns="91425" bIns="91425" anchor="b" anchorCtr="0">
            <a:noAutofit/>
          </a:bodyPr>
          <a:lstStyle>
            <a:lvl1pPr lvl="0" rtl="0">
              <a:spcBef>
                <a:spcPts val="0"/>
              </a:spcBef>
              <a:spcAft>
                <a:spcPts val="0"/>
              </a:spcAft>
              <a:buNone/>
              <a:defRPr b="1">
                <a:latin typeface="Archivo Black"/>
                <a:ea typeface="Archivo Black"/>
                <a:cs typeface="Archivo Black"/>
                <a:sym typeface="Archivo Black"/>
              </a:defRPr>
            </a:lvl1pPr>
            <a:lvl2pPr lvl="1" rtl="0">
              <a:spcBef>
                <a:spcPts val="1200"/>
              </a:spcBef>
              <a:spcAft>
                <a:spcPts val="0"/>
              </a:spcAft>
              <a:buNone/>
              <a:defRPr b="1">
                <a:latin typeface="Archivo Black"/>
                <a:ea typeface="Archivo Black"/>
                <a:cs typeface="Archivo Black"/>
                <a:sym typeface="Archivo Black"/>
              </a:defRPr>
            </a:lvl2pPr>
            <a:lvl3pPr lvl="2" rtl="0">
              <a:spcBef>
                <a:spcPts val="1200"/>
              </a:spcBef>
              <a:spcAft>
                <a:spcPts val="0"/>
              </a:spcAft>
              <a:buNone/>
              <a:defRPr b="1">
                <a:latin typeface="Archivo Black"/>
                <a:ea typeface="Archivo Black"/>
                <a:cs typeface="Archivo Black"/>
                <a:sym typeface="Archivo Black"/>
              </a:defRPr>
            </a:lvl3pPr>
            <a:lvl4pPr lvl="3" rtl="0">
              <a:spcBef>
                <a:spcPts val="1200"/>
              </a:spcBef>
              <a:spcAft>
                <a:spcPts val="0"/>
              </a:spcAft>
              <a:buNone/>
              <a:defRPr b="1">
                <a:latin typeface="Archivo Black"/>
                <a:ea typeface="Archivo Black"/>
                <a:cs typeface="Archivo Black"/>
                <a:sym typeface="Archivo Black"/>
              </a:defRPr>
            </a:lvl4pPr>
            <a:lvl5pPr lvl="4" rtl="0">
              <a:spcBef>
                <a:spcPts val="1200"/>
              </a:spcBef>
              <a:spcAft>
                <a:spcPts val="0"/>
              </a:spcAft>
              <a:buNone/>
              <a:defRPr b="1">
                <a:latin typeface="Archivo Black"/>
                <a:ea typeface="Archivo Black"/>
                <a:cs typeface="Archivo Black"/>
                <a:sym typeface="Archivo Black"/>
              </a:defRPr>
            </a:lvl5pPr>
            <a:lvl6pPr lvl="5" rtl="0">
              <a:spcBef>
                <a:spcPts val="1200"/>
              </a:spcBef>
              <a:spcAft>
                <a:spcPts val="0"/>
              </a:spcAft>
              <a:buNone/>
              <a:defRPr b="1">
                <a:latin typeface="Archivo Black"/>
                <a:ea typeface="Archivo Black"/>
                <a:cs typeface="Archivo Black"/>
                <a:sym typeface="Archivo Black"/>
              </a:defRPr>
            </a:lvl6pPr>
            <a:lvl7pPr lvl="6" rtl="0">
              <a:spcBef>
                <a:spcPts val="1200"/>
              </a:spcBef>
              <a:spcAft>
                <a:spcPts val="0"/>
              </a:spcAft>
              <a:buNone/>
              <a:defRPr b="1">
                <a:latin typeface="Archivo Black"/>
                <a:ea typeface="Archivo Black"/>
                <a:cs typeface="Archivo Black"/>
                <a:sym typeface="Archivo Black"/>
              </a:defRPr>
            </a:lvl7pPr>
            <a:lvl8pPr lvl="7" rtl="0">
              <a:spcBef>
                <a:spcPts val="1200"/>
              </a:spcBef>
              <a:spcAft>
                <a:spcPts val="0"/>
              </a:spcAft>
              <a:buNone/>
              <a:defRPr b="1">
                <a:latin typeface="Archivo Black"/>
                <a:ea typeface="Archivo Black"/>
                <a:cs typeface="Archivo Black"/>
                <a:sym typeface="Archivo Black"/>
              </a:defRPr>
            </a:lvl8pPr>
            <a:lvl9pPr lvl="8" rtl="0">
              <a:spcBef>
                <a:spcPts val="1200"/>
              </a:spcBef>
              <a:spcAft>
                <a:spcPts val="1200"/>
              </a:spcAft>
              <a:buNone/>
              <a:defRPr b="1">
                <a:latin typeface="Archivo Black"/>
                <a:ea typeface="Archivo Black"/>
                <a:cs typeface="Archivo Black"/>
                <a:sym typeface="Archivo Black"/>
              </a:defRPr>
            </a:lvl9pPr>
          </a:lstStyle>
          <a:p>
            <a:endParaRPr/>
          </a:p>
        </p:txBody>
      </p:sp>
      <p:sp>
        <p:nvSpPr>
          <p:cNvPr id="492" name="Google Shape;492;p27"/>
          <p:cNvSpPr txBox="1">
            <a:spLocks noGrp="1"/>
          </p:cNvSpPr>
          <p:nvPr>
            <p:ph type="subTitle" idx="8"/>
          </p:nvPr>
        </p:nvSpPr>
        <p:spPr>
          <a:xfrm>
            <a:off x="794175" y="3807217"/>
            <a:ext cx="2242800" cy="655200"/>
          </a:xfrm>
          <a:prstGeom prst="rect">
            <a:avLst/>
          </a:prstGeom>
        </p:spPr>
        <p:txBody>
          <a:bodyPr spcFirstLastPara="1" wrap="square" lIns="91425" tIns="91425" rIns="91425" bIns="91425" anchor="t" anchorCtr="0">
            <a:noAutofit/>
          </a:bodyPr>
          <a:lstStyle>
            <a:lvl1pPr lvl="0" rtl="0">
              <a:spcBef>
                <a:spcPts val="0"/>
              </a:spcBef>
              <a:spcAft>
                <a:spcPts val="0"/>
              </a:spcAft>
              <a:buNone/>
              <a:defRPr sz="1400"/>
            </a:lvl1pPr>
            <a:lvl2pPr lvl="1" rtl="0">
              <a:spcBef>
                <a:spcPts val="1200"/>
              </a:spcBef>
              <a:spcAft>
                <a:spcPts val="0"/>
              </a:spcAft>
              <a:buNone/>
              <a:defRPr sz="1400" b="1"/>
            </a:lvl2pPr>
            <a:lvl3pPr lvl="2" rtl="0">
              <a:spcBef>
                <a:spcPts val="1200"/>
              </a:spcBef>
              <a:spcAft>
                <a:spcPts val="0"/>
              </a:spcAft>
              <a:buNone/>
              <a:defRPr sz="1400" b="1"/>
            </a:lvl3pPr>
            <a:lvl4pPr lvl="3" rtl="0">
              <a:spcBef>
                <a:spcPts val="1200"/>
              </a:spcBef>
              <a:spcAft>
                <a:spcPts val="0"/>
              </a:spcAft>
              <a:buNone/>
              <a:defRPr sz="1400" b="1"/>
            </a:lvl4pPr>
            <a:lvl5pPr lvl="4" rtl="0">
              <a:spcBef>
                <a:spcPts val="1200"/>
              </a:spcBef>
              <a:spcAft>
                <a:spcPts val="0"/>
              </a:spcAft>
              <a:buNone/>
              <a:defRPr sz="1400" b="1"/>
            </a:lvl5pPr>
            <a:lvl6pPr lvl="5" rtl="0">
              <a:spcBef>
                <a:spcPts val="1200"/>
              </a:spcBef>
              <a:spcAft>
                <a:spcPts val="0"/>
              </a:spcAft>
              <a:buNone/>
              <a:defRPr sz="1400" b="1"/>
            </a:lvl6pPr>
            <a:lvl7pPr lvl="6" rtl="0">
              <a:spcBef>
                <a:spcPts val="1200"/>
              </a:spcBef>
              <a:spcAft>
                <a:spcPts val="0"/>
              </a:spcAft>
              <a:buNone/>
              <a:defRPr sz="1400" b="1"/>
            </a:lvl7pPr>
            <a:lvl8pPr lvl="7" rtl="0">
              <a:spcBef>
                <a:spcPts val="1200"/>
              </a:spcBef>
              <a:spcAft>
                <a:spcPts val="0"/>
              </a:spcAft>
              <a:buNone/>
              <a:defRPr sz="1400" b="1"/>
            </a:lvl8pPr>
            <a:lvl9pPr lvl="8" rtl="0">
              <a:spcBef>
                <a:spcPts val="1200"/>
              </a:spcBef>
              <a:spcAft>
                <a:spcPts val="1200"/>
              </a:spcAft>
              <a:buNone/>
              <a:defRPr sz="1400" b="1"/>
            </a:lvl9pPr>
          </a:lstStyle>
          <a:p>
            <a:endParaRPr/>
          </a:p>
        </p:txBody>
      </p:sp>
      <p:sp>
        <p:nvSpPr>
          <p:cNvPr id="493" name="Google Shape;493;p27"/>
          <p:cNvSpPr txBox="1">
            <a:spLocks noGrp="1"/>
          </p:cNvSpPr>
          <p:nvPr>
            <p:ph type="subTitle" idx="9"/>
          </p:nvPr>
        </p:nvSpPr>
        <p:spPr>
          <a:xfrm>
            <a:off x="3450675" y="3479953"/>
            <a:ext cx="2242800" cy="402300"/>
          </a:xfrm>
          <a:prstGeom prst="rect">
            <a:avLst/>
          </a:prstGeom>
        </p:spPr>
        <p:txBody>
          <a:bodyPr spcFirstLastPara="1" wrap="square" lIns="91425" tIns="91425" rIns="91425" bIns="91425" anchor="b" anchorCtr="0">
            <a:noAutofit/>
          </a:bodyPr>
          <a:lstStyle>
            <a:lvl1pPr lvl="0" rtl="0">
              <a:spcBef>
                <a:spcPts val="0"/>
              </a:spcBef>
              <a:spcAft>
                <a:spcPts val="0"/>
              </a:spcAft>
              <a:buNone/>
              <a:defRPr b="1">
                <a:latin typeface="Archivo Black"/>
                <a:ea typeface="Archivo Black"/>
                <a:cs typeface="Archivo Black"/>
                <a:sym typeface="Archivo Black"/>
              </a:defRPr>
            </a:lvl1pPr>
            <a:lvl2pPr lvl="1" rtl="0">
              <a:spcBef>
                <a:spcPts val="1200"/>
              </a:spcBef>
              <a:spcAft>
                <a:spcPts val="0"/>
              </a:spcAft>
              <a:buNone/>
              <a:defRPr b="1">
                <a:latin typeface="Archivo Black"/>
                <a:ea typeface="Archivo Black"/>
                <a:cs typeface="Archivo Black"/>
                <a:sym typeface="Archivo Black"/>
              </a:defRPr>
            </a:lvl2pPr>
            <a:lvl3pPr lvl="2" rtl="0">
              <a:spcBef>
                <a:spcPts val="1200"/>
              </a:spcBef>
              <a:spcAft>
                <a:spcPts val="0"/>
              </a:spcAft>
              <a:buNone/>
              <a:defRPr b="1">
                <a:latin typeface="Archivo Black"/>
                <a:ea typeface="Archivo Black"/>
                <a:cs typeface="Archivo Black"/>
                <a:sym typeface="Archivo Black"/>
              </a:defRPr>
            </a:lvl3pPr>
            <a:lvl4pPr lvl="3" rtl="0">
              <a:spcBef>
                <a:spcPts val="1200"/>
              </a:spcBef>
              <a:spcAft>
                <a:spcPts val="0"/>
              </a:spcAft>
              <a:buNone/>
              <a:defRPr b="1">
                <a:latin typeface="Archivo Black"/>
                <a:ea typeface="Archivo Black"/>
                <a:cs typeface="Archivo Black"/>
                <a:sym typeface="Archivo Black"/>
              </a:defRPr>
            </a:lvl4pPr>
            <a:lvl5pPr lvl="4" rtl="0">
              <a:spcBef>
                <a:spcPts val="1200"/>
              </a:spcBef>
              <a:spcAft>
                <a:spcPts val="0"/>
              </a:spcAft>
              <a:buNone/>
              <a:defRPr b="1">
                <a:latin typeface="Archivo Black"/>
                <a:ea typeface="Archivo Black"/>
                <a:cs typeface="Archivo Black"/>
                <a:sym typeface="Archivo Black"/>
              </a:defRPr>
            </a:lvl5pPr>
            <a:lvl6pPr lvl="5" rtl="0">
              <a:spcBef>
                <a:spcPts val="1200"/>
              </a:spcBef>
              <a:spcAft>
                <a:spcPts val="0"/>
              </a:spcAft>
              <a:buNone/>
              <a:defRPr b="1">
                <a:latin typeface="Archivo Black"/>
                <a:ea typeface="Archivo Black"/>
                <a:cs typeface="Archivo Black"/>
                <a:sym typeface="Archivo Black"/>
              </a:defRPr>
            </a:lvl6pPr>
            <a:lvl7pPr lvl="6" rtl="0">
              <a:spcBef>
                <a:spcPts val="1200"/>
              </a:spcBef>
              <a:spcAft>
                <a:spcPts val="0"/>
              </a:spcAft>
              <a:buNone/>
              <a:defRPr b="1">
                <a:latin typeface="Archivo Black"/>
                <a:ea typeface="Archivo Black"/>
                <a:cs typeface="Archivo Black"/>
                <a:sym typeface="Archivo Black"/>
              </a:defRPr>
            </a:lvl7pPr>
            <a:lvl8pPr lvl="7" rtl="0">
              <a:spcBef>
                <a:spcPts val="1200"/>
              </a:spcBef>
              <a:spcAft>
                <a:spcPts val="0"/>
              </a:spcAft>
              <a:buNone/>
              <a:defRPr b="1">
                <a:latin typeface="Archivo Black"/>
                <a:ea typeface="Archivo Black"/>
                <a:cs typeface="Archivo Black"/>
                <a:sym typeface="Archivo Black"/>
              </a:defRPr>
            </a:lvl8pPr>
            <a:lvl9pPr lvl="8" rtl="0">
              <a:spcBef>
                <a:spcPts val="1200"/>
              </a:spcBef>
              <a:spcAft>
                <a:spcPts val="1200"/>
              </a:spcAft>
              <a:buNone/>
              <a:defRPr b="1">
                <a:latin typeface="Archivo Black"/>
                <a:ea typeface="Archivo Black"/>
                <a:cs typeface="Archivo Black"/>
                <a:sym typeface="Archivo Black"/>
              </a:defRPr>
            </a:lvl9pPr>
          </a:lstStyle>
          <a:p>
            <a:endParaRPr/>
          </a:p>
        </p:txBody>
      </p:sp>
      <p:sp>
        <p:nvSpPr>
          <p:cNvPr id="494" name="Google Shape;494;p27"/>
          <p:cNvSpPr txBox="1">
            <a:spLocks noGrp="1"/>
          </p:cNvSpPr>
          <p:nvPr>
            <p:ph type="subTitle" idx="13"/>
          </p:nvPr>
        </p:nvSpPr>
        <p:spPr>
          <a:xfrm>
            <a:off x="3450675" y="3807200"/>
            <a:ext cx="2242800" cy="655200"/>
          </a:xfrm>
          <a:prstGeom prst="rect">
            <a:avLst/>
          </a:prstGeom>
        </p:spPr>
        <p:txBody>
          <a:bodyPr spcFirstLastPara="1" wrap="square" lIns="91425" tIns="91425" rIns="91425" bIns="91425" anchor="t" anchorCtr="0">
            <a:noAutofit/>
          </a:bodyPr>
          <a:lstStyle>
            <a:lvl1pPr lvl="0" rtl="0">
              <a:spcBef>
                <a:spcPts val="0"/>
              </a:spcBef>
              <a:spcAft>
                <a:spcPts val="0"/>
              </a:spcAft>
              <a:buNone/>
              <a:defRPr sz="1400"/>
            </a:lvl1pPr>
            <a:lvl2pPr lvl="1" rtl="0">
              <a:spcBef>
                <a:spcPts val="1200"/>
              </a:spcBef>
              <a:spcAft>
                <a:spcPts val="0"/>
              </a:spcAft>
              <a:buNone/>
              <a:defRPr sz="1400" b="1"/>
            </a:lvl2pPr>
            <a:lvl3pPr lvl="2" rtl="0">
              <a:spcBef>
                <a:spcPts val="1200"/>
              </a:spcBef>
              <a:spcAft>
                <a:spcPts val="0"/>
              </a:spcAft>
              <a:buNone/>
              <a:defRPr sz="1400" b="1"/>
            </a:lvl3pPr>
            <a:lvl4pPr lvl="3" rtl="0">
              <a:spcBef>
                <a:spcPts val="1200"/>
              </a:spcBef>
              <a:spcAft>
                <a:spcPts val="0"/>
              </a:spcAft>
              <a:buNone/>
              <a:defRPr sz="1400" b="1"/>
            </a:lvl4pPr>
            <a:lvl5pPr lvl="4" rtl="0">
              <a:spcBef>
                <a:spcPts val="1200"/>
              </a:spcBef>
              <a:spcAft>
                <a:spcPts val="0"/>
              </a:spcAft>
              <a:buNone/>
              <a:defRPr sz="1400" b="1"/>
            </a:lvl5pPr>
            <a:lvl6pPr lvl="5" rtl="0">
              <a:spcBef>
                <a:spcPts val="1200"/>
              </a:spcBef>
              <a:spcAft>
                <a:spcPts val="0"/>
              </a:spcAft>
              <a:buNone/>
              <a:defRPr sz="1400" b="1"/>
            </a:lvl6pPr>
            <a:lvl7pPr lvl="6" rtl="0">
              <a:spcBef>
                <a:spcPts val="1200"/>
              </a:spcBef>
              <a:spcAft>
                <a:spcPts val="0"/>
              </a:spcAft>
              <a:buNone/>
              <a:defRPr sz="1400" b="1"/>
            </a:lvl7pPr>
            <a:lvl8pPr lvl="7" rtl="0">
              <a:spcBef>
                <a:spcPts val="1200"/>
              </a:spcBef>
              <a:spcAft>
                <a:spcPts val="0"/>
              </a:spcAft>
              <a:buNone/>
              <a:defRPr sz="1400" b="1"/>
            </a:lvl8pPr>
            <a:lvl9pPr lvl="8" rtl="0">
              <a:spcBef>
                <a:spcPts val="1200"/>
              </a:spcBef>
              <a:spcAft>
                <a:spcPts val="1200"/>
              </a:spcAft>
              <a:buNone/>
              <a:defRPr sz="1400" b="1"/>
            </a:lvl9pPr>
          </a:lstStyle>
          <a:p>
            <a:endParaRPr/>
          </a:p>
        </p:txBody>
      </p:sp>
      <p:sp>
        <p:nvSpPr>
          <p:cNvPr id="495" name="Google Shape;495;p27"/>
          <p:cNvSpPr txBox="1">
            <a:spLocks noGrp="1"/>
          </p:cNvSpPr>
          <p:nvPr>
            <p:ph type="subTitle" idx="14"/>
          </p:nvPr>
        </p:nvSpPr>
        <p:spPr>
          <a:xfrm>
            <a:off x="6107175" y="3479953"/>
            <a:ext cx="2242800" cy="402300"/>
          </a:xfrm>
          <a:prstGeom prst="rect">
            <a:avLst/>
          </a:prstGeom>
        </p:spPr>
        <p:txBody>
          <a:bodyPr spcFirstLastPara="1" wrap="square" lIns="91425" tIns="91425" rIns="91425" bIns="91425" anchor="b" anchorCtr="0">
            <a:noAutofit/>
          </a:bodyPr>
          <a:lstStyle>
            <a:lvl1pPr lvl="0" rtl="0">
              <a:spcBef>
                <a:spcPts val="0"/>
              </a:spcBef>
              <a:spcAft>
                <a:spcPts val="0"/>
              </a:spcAft>
              <a:buNone/>
              <a:defRPr b="1">
                <a:latin typeface="Archivo Black"/>
                <a:ea typeface="Archivo Black"/>
                <a:cs typeface="Archivo Black"/>
                <a:sym typeface="Archivo Black"/>
              </a:defRPr>
            </a:lvl1pPr>
            <a:lvl2pPr lvl="1" rtl="0">
              <a:spcBef>
                <a:spcPts val="1200"/>
              </a:spcBef>
              <a:spcAft>
                <a:spcPts val="0"/>
              </a:spcAft>
              <a:buNone/>
              <a:defRPr b="1">
                <a:latin typeface="Archivo Black"/>
                <a:ea typeface="Archivo Black"/>
                <a:cs typeface="Archivo Black"/>
                <a:sym typeface="Archivo Black"/>
              </a:defRPr>
            </a:lvl2pPr>
            <a:lvl3pPr lvl="2" rtl="0">
              <a:spcBef>
                <a:spcPts val="1200"/>
              </a:spcBef>
              <a:spcAft>
                <a:spcPts val="0"/>
              </a:spcAft>
              <a:buNone/>
              <a:defRPr b="1">
                <a:latin typeface="Archivo Black"/>
                <a:ea typeface="Archivo Black"/>
                <a:cs typeface="Archivo Black"/>
                <a:sym typeface="Archivo Black"/>
              </a:defRPr>
            </a:lvl3pPr>
            <a:lvl4pPr lvl="3" rtl="0">
              <a:spcBef>
                <a:spcPts val="1200"/>
              </a:spcBef>
              <a:spcAft>
                <a:spcPts val="0"/>
              </a:spcAft>
              <a:buNone/>
              <a:defRPr b="1">
                <a:latin typeface="Archivo Black"/>
                <a:ea typeface="Archivo Black"/>
                <a:cs typeface="Archivo Black"/>
                <a:sym typeface="Archivo Black"/>
              </a:defRPr>
            </a:lvl4pPr>
            <a:lvl5pPr lvl="4" rtl="0">
              <a:spcBef>
                <a:spcPts val="1200"/>
              </a:spcBef>
              <a:spcAft>
                <a:spcPts val="0"/>
              </a:spcAft>
              <a:buNone/>
              <a:defRPr b="1">
                <a:latin typeface="Archivo Black"/>
                <a:ea typeface="Archivo Black"/>
                <a:cs typeface="Archivo Black"/>
                <a:sym typeface="Archivo Black"/>
              </a:defRPr>
            </a:lvl5pPr>
            <a:lvl6pPr lvl="5" rtl="0">
              <a:spcBef>
                <a:spcPts val="1200"/>
              </a:spcBef>
              <a:spcAft>
                <a:spcPts val="0"/>
              </a:spcAft>
              <a:buNone/>
              <a:defRPr b="1">
                <a:latin typeface="Archivo Black"/>
                <a:ea typeface="Archivo Black"/>
                <a:cs typeface="Archivo Black"/>
                <a:sym typeface="Archivo Black"/>
              </a:defRPr>
            </a:lvl6pPr>
            <a:lvl7pPr lvl="6" rtl="0">
              <a:spcBef>
                <a:spcPts val="1200"/>
              </a:spcBef>
              <a:spcAft>
                <a:spcPts val="0"/>
              </a:spcAft>
              <a:buNone/>
              <a:defRPr b="1">
                <a:latin typeface="Archivo Black"/>
                <a:ea typeface="Archivo Black"/>
                <a:cs typeface="Archivo Black"/>
                <a:sym typeface="Archivo Black"/>
              </a:defRPr>
            </a:lvl7pPr>
            <a:lvl8pPr lvl="7" rtl="0">
              <a:spcBef>
                <a:spcPts val="1200"/>
              </a:spcBef>
              <a:spcAft>
                <a:spcPts val="0"/>
              </a:spcAft>
              <a:buNone/>
              <a:defRPr b="1">
                <a:latin typeface="Archivo Black"/>
                <a:ea typeface="Archivo Black"/>
                <a:cs typeface="Archivo Black"/>
                <a:sym typeface="Archivo Black"/>
              </a:defRPr>
            </a:lvl8pPr>
            <a:lvl9pPr lvl="8" rtl="0">
              <a:spcBef>
                <a:spcPts val="1200"/>
              </a:spcBef>
              <a:spcAft>
                <a:spcPts val="1200"/>
              </a:spcAft>
              <a:buNone/>
              <a:defRPr b="1">
                <a:latin typeface="Archivo Black"/>
                <a:ea typeface="Archivo Black"/>
                <a:cs typeface="Archivo Black"/>
                <a:sym typeface="Archivo Black"/>
              </a:defRPr>
            </a:lvl9pPr>
          </a:lstStyle>
          <a:p>
            <a:endParaRPr/>
          </a:p>
        </p:txBody>
      </p:sp>
      <p:sp>
        <p:nvSpPr>
          <p:cNvPr id="496" name="Google Shape;496;p27"/>
          <p:cNvSpPr txBox="1">
            <a:spLocks noGrp="1"/>
          </p:cNvSpPr>
          <p:nvPr>
            <p:ph type="subTitle" idx="15"/>
          </p:nvPr>
        </p:nvSpPr>
        <p:spPr>
          <a:xfrm>
            <a:off x="6107175" y="3807200"/>
            <a:ext cx="2242800" cy="655200"/>
          </a:xfrm>
          <a:prstGeom prst="rect">
            <a:avLst/>
          </a:prstGeom>
        </p:spPr>
        <p:txBody>
          <a:bodyPr spcFirstLastPara="1" wrap="square" lIns="91425" tIns="91425" rIns="91425" bIns="91425" anchor="t" anchorCtr="0">
            <a:noAutofit/>
          </a:bodyPr>
          <a:lstStyle>
            <a:lvl1pPr lvl="0" rtl="0">
              <a:spcBef>
                <a:spcPts val="0"/>
              </a:spcBef>
              <a:spcAft>
                <a:spcPts val="0"/>
              </a:spcAft>
              <a:buNone/>
              <a:defRPr sz="1400"/>
            </a:lvl1pPr>
            <a:lvl2pPr lvl="1" rtl="0">
              <a:spcBef>
                <a:spcPts val="1200"/>
              </a:spcBef>
              <a:spcAft>
                <a:spcPts val="0"/>
              </a:spcAft>
              <a:buNone/>
              <a:defRPr sz="1400" b="1"/>
            </a:lvl2pPr>
            <a:lvl3pPr lvl="2" rtl="0">
              <a:spcBef>
                <a:spcPts val="1200"/>
              </a:spcBef>
              <a:spcAft>
                <a:spcPts val="0"/>
              </a:spcAft>
              <a:buNone/>
              <a:defRPr sz="1400" b="1"/>
            </a:lvl3pPr>
            <a:lvl4pPr lvl="3" rtl="0">
              <a:spcBef>
                <a:spcPts val="1200"/>
              </a:spcBef>
              <a:spcAft>
                <a:spcPts val="0"/>
              </a:spcAft>
              <a:buNone/>
              <a:defRPr sz="1400" b="1"/>
            </a:lvl4pPr>
            <a:lvl5pPr lvl="4" rtl="0">
              <a:spcBef>
                <a:spcPts val="1200"/>
              </a:spcBef>
              <a:spcAft>
                <a:spcPts val="0"/>
              </a:spcAft>
              <a:buNone/>
              <a:defRPr sz="1400" b="1"/>
            </a:lvl5pPr>
            <a:lvl6pPr lvl="5" rtl="0">
              <a:spcBef>
                <a:spcPts val="1200"/>
              </a:spcBef>
              <a:spcAft>
                <a:spcPts val="0"/>
              </a:spcAft>
              <a:buNone/>
              <a:defRPr sz="1400" b="1"/>
            </a:lvl6pPr>
            <a:lvl7pPr lvl="6" rtl="0">
              <a:spcBef>
                <a:spcPts val="1200"/>
              </a:spcBef>
              <a:spcAft>
                <a:spcPts val="0"/>
              </a:spcAft>
              <a:buNone/>
              <a:defRPr sz="1400" b="1"/>
            </a:lvl7pPr>
            <a:lvl8pPr lvl="7" rtl="0">
              <a:spcBef>
                <a:spcPts val="1200"/>
              </a:spcBef>
              <a:spcAft>
                <a:spcPts val="0"/>
              </a:spcAft>
              <a:buNone/>
              <a:defRPr sz="1400" b="1"/>
            </a:lvl8pPr>
            <a:lvl9pPr lvl="8" rtl="0">
              <a:spcBef>
                <a:spcPts val="1200"/>
              </a:spcBef>
              <a:spcAft>
                <a:spcPts val="1200"/>
              </a:spcAft>
              <a:buNone/>
              <a:defRPr sz="1400" b="1"/>
            </a:lvl9pPr>
          </a:lstStyle>
          <a:p>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Background">
  <p:cSld name="CUSTOM_14_1_1">
    <p:spTree>
      <p:nvGrpSpPr>
        <p:cNvPr id="1" name="Shape 534"/>
        <p:cNvGrpSpPr/>
        <p:nvPr/>
      </p:nvGrpSpPr>
      <p:grpSpPr>
        <a:xfrm>
          <a:off x="0" y="0"/>
          <a:ext cx="0" cy="0"/>
          <a:chOff x="0" y="0"/>
          <a:chExt cx="0" cy="0"/>
        </a:xfrm>
      </p:grpSpPr>
      <p:grpSp>
        <p:nvGrpSpPr>
          <p:cNvPr id="535" name="Google Shape;535;p29"/>
          <p:cNvGrpSpPr/>
          <p:nvPr/>
        </p:nvGrpSpPr>
        <p:grpSpPr>
          <a:xfrm>
            <a:off x="75" y="4767375"/>
            <a:ext cx="9144000" cy="376233"/>
            <a:chOff x="75" y="4275004"/>
            <a:chExt cx="9144000" cy="868496"/>
          </a:xfrm>
        </p:grpSpPr>
        <p:sp>
          <p:nvSpPr>
            <p:cNvPr id="536" name="Google Shape;536;p29"/>
            <p:cNvSpPr/>
            <p:nvPr/>
          </p:nvSpPr>
          <p:spPr>
            <a:xfrm>
              <a:off x="75" y="4275004"/>
              <a:ext cx="9144000" cy="2997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537;p29"/>
            <p:cNvSpPr/>
            <p:nvPr/>
          </p:nvSpPr>
          <p:spPr>
            <a:xfrm>
              <a:off x="75" y="4564476"/>
              <a:ext cx="9144000" cy="2997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538;p29"/>
            <p:cNvSpPr/>
            <p:nvPr/>
          </p:nvSpPr>
          <p:spPr>
            <a:xfrm>
              <a:off x="75" y="4854000"/>
              <a:ext cx="9144000" cy="2895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Background 2">
  <p:cSld name="CUSTOM_13_1_1_1_1_1">
    <p:spTree>
      <p:nvGrpSpPr>
        <p:cNvPr id="1" name="Shape 539"/>
        <p:cNvGrpSpPr/>
        <p:nvPr/>
      </p:nvGrpSpPr>
      <p:grpSpPr>
        <a:xfrm>
          <a:off x="0" y="0"/>
          <a:ext cx="0" cy="0"/>
          <a:chOff x="0" y="0"/>
          <a:chExt cx="0" cy="0"/>
        </a:xfrm>
      </p:grpSpPr>
      <p:sp>
        <p:nvSpPr>
          <p:cNvPr id="540" name="Google Shape;540;p30"/>
          <p:cNvSpPr/>
          <p:nvPr/>
        </p:nvSpPr>
        <p:spPr>
          <a:xfrm>
            <a:off x="0" y="3705223"/>
            <a:ext cx="9144000" cy="1438312"/>
          </a:xfrm>
          <a:custGeom>
            <a:avLst/>
            <a:gdLst/>
            <a:ahLst/>
            <a:cxnLst/>
            <a:rect l="l" t="t" r="r" b="b"/>
            <a:pathLst>
              <a:path w="285750" h="64390" extrusionOk="0">
                <a:moveTo>
                  <a:pt x="41446" y="1536"/>
                </a:moveTo>
                <a:lnTo>
                  <a:pt x="39576" y="2727"/>
                </a:lnTo>
                <a:lnTo>
                  <a:pt x="20253" y="2727"/>
                </a:lnTo>
                <a:lnTo>
                  <a:pt x="22574" y="1536"/>
                </a:lnTo>
                <a:close/>
                <a:moveTo>
                  <a:pt x="63294" y="1536"/>
                </a:moveTo>
                <a:lnTo>
                  <a:pt x="61841" y="2727"/>
                </a:lnTo>
                <a:lnTo>
                  <a:pt x="42577" y="2727"/>
                </a:lnTo>
                <a:lnTo>
                  <a:pt x="44458" y="1536"/>
                </a:lnTo>
                <a:close/>
                <a:moveTo>
                  <a:pt x="87070" y="1536"/>
                </a:moveTo>
                <a:lnTo>
                  <a:pt x="85987" y="2727"/>
                </a:lnTo>
                <a:lnTo>
                  <a:pt x="64449" y="2727"/>
                </a:lnTo>
                <a:lnTo>
                  <a:pt x="65913" y="1536"/>
                </a:lnTo>
                <a:close/>
                <a:moveTo>
                  <a:pt x="107335" y="1536"/>
                </a:moveTo>
                <a:lnTo>
                  <a:pt x="106692" y="2727"/>
                </a:lnTo>
                <a:lnTo>
                  <a:pt x="88285" y="2727"/>
                </a:lnTo>
                <a:lnTo>
                  <a:pt x="89345" y="1536"/>
                </a:lnTo>
                <a:close/>
                <a:moveTo>
                  <a:pt x="128969" y="1536"/>
                </a:moveTo>
                <a:lnTo>
                  <a:pt x="128766" y="2727"/>
                </a:lnTo>
                <a:lnTo>
                  <a:pt x="108716" y="2727"/>
                </a:lnTo>
                <a:lnTo>
                  <a:pt x="109359" y="1536"/>
                </a:lnTo>
                <a:close/>
                <a:moveTo>
                  <a:pt x="154900" y="1536"/>
                </a:moveTo>
                <a:lnTo>
                  <a:pt x="155115" y="2727"/>
                </a:lnTo>
                <a:lnTo>
                  <a:pt x="130647" y="2727"/>
                </a:lnTo>
                <a:lnTo>
                  <a:pt x="130850" y="1536"/>
                </a:lnTo>
                <a:close/>
                <a:moveTo>
                  <a:pt x="176391" y="1536"/>
                </a:moveTo>
                <a:lnTo>
                  <a:pt x="177034" y="2727"/>
                </a:lnTo>
                <a:lnTo>
                  <a:pt x="156984" y="2727"/>
                </a:lnTo>
                <a:lnTo>
                  <a:pt x="156770" y="1536"/>
                </a:lnTo>
                <a:close/>
                <a:moveTo>
                  <a:pt x="196394" y="1536"/>
                </a:moveTo>
                <a:lnTo>
                  <a:pt x="197465" y="2727"/>
                </a:lnTo>
                <a:lnTo>
                  <a:pt x="179058" y="2727"/>
                </a:lnTo>
                <a:lnTo>
                  <a:pt x="178415" y="1536"/>
                </a:lnTo>
                <a:close/>
                <a:moveTo>
                  <a:pt x="219837" y="1536"/>
                </a:moveTo>
                <a:lnTo>
                  <a:pt x="221290" y="2727"/>
                </a:lnTo>
                <a:lnTo>
                  <a:pt x="199751" y="2727"/>
                </a:lnTo>
                <a:lnTo>
                  <a:pt x="198680" y="1536"/>
                </a:lnTo>
                <a:close/>
                <a:moveTo>
                  <a:pt x="241292" y="1536"/>
                </a:moveTo>
                <a:lnTo>
                  <a:pt x="243173" y="2727"/>
                </a:lnTo>
                <a:lnTo>
                  <a:pt x="223909" y="2727"/>
                </a:lnTo>
                <a:lnTo>
                  <a:pt x="222456" y="1536"/>
                </a:lnTo>
                <a:close/>
                <a:moveTo>
                  <a:pt x="263176" y="1536"/>
                </a:moveTo>
                <a:lnTo>
                  <a:pt x="265497" y="2727"/>
                </a:lnTo>
                <a:lnTo>
                  <a:pt x="246174" y="2727"/>
                </a:lnTo>
                <a:lnTo>
                  <a:pt x="244304" y="1536"/>
                </a:lnTo>
                <a:close/>
                <a:moveTo>
                  <a:pt x="37195" y="4215"/>
                </a:moveTo>
                <a:lnTo>
                  <a:pt x="31480" y="7834"/>
                </a:lnTo>
                <a:lnTo>
                  <a:pt x="10251" y="7834"/>
                </a:lnTo>
                <a:lnTo>
                  <a:pt x="17324" y="4215"/>
                </a:lnTo>
                <a:close/>
                <a:moveTo>
                  <a:pt x="128516" y="4215"/>
                </a:moveTo>
                <a:lnTo>
                  <a:pt x="127885" y="7834"/>
                </a:lnTo>
                <a:lnTo>
                  <a:pt x="105966" y="7834"/>
                </a:lnTo>
                <a:lnTo>
                  <a:pt x="107918" y="4215"/>
                </a:lnTo>
                <a:close/>
                <a:moveTo>
                  <a:pt x="155365" y="4215"/>
                </a:moveTo>
                <a:lnTo>
                  <a:pt x="155984" y="7834"/>
                </a:lnTo>
                <a:lnTo>
                  <a:pt x="129766" y="7834"/>
                </a:lnTo>
                <a:lnTo>
                  <a:pt x="130385" y="4215"/>
                </a:lnTo>
                <a:close/>
                <a:moveTo>
                  <a:pt x="59996" y="4239"/>
                </a:moveTo>
                <a:lnTo>
                  <a:pt x="55543" y="7846"/>
                </a:lnTo>
                <a:lnTo>
                  <a:pt x="34481" y="7846"/>
                </a:lnTo>
                <a:lnTo>
                  <a:pt x="40219" y="4239"/>
                </a:lnTo>
                <a:close/>
                <a:moveTo>
                  <a:pt x="84665" y="4239"/>
                </a:moveTo>
                <a:lnTo>
                  <a:pt x="81427" y="7846"/>
                </a:lnTo>
                <a:lnTo>
                  <a:pt x="58162" y="7846"/>
                </a:lnTo>
                <a:lnTo>
                  <a:pt x="62615" y="4239"/>
                </a:lnTo>
                <a:close/>
                <a:moveTo>
                  <a:pt x="105894" y="4239"/>
                </a:moveTo>
                <a:lnTo>
                  <a:pt x="103942" y="7846"/>
                </a:lnTo>
                <a:lnTo>
                  <a:pt x="83713" y="7846"/>
                </a:lnTo>
                <a:lnTo>
                  <a:pt x="86951" y="4239"/>
                </a:lnTo>
                <a:close/>
                <a:moveTo>
                  <a:pt x="177832" y="4239"/>
                </a:moveTo>
                <a:lnTo>
                  <a:pt x="179784" y="7846"/>
                </a:lnTo>
                <a:lnTo>
                  <a:pt x="157865" y="7846"/>
                </a:lnTo>
                <a:lnTo>
                  <a:pt x="157234" y="4239"/>
                </a:lnTo>
                <a:close/>
                <a:moveTo>
                  <a:pt x="198811" y="4239"/>
                </a:moveTo>
                <a:lnTo>
                  <a:pt x="202037" y="7846"/>
                </a:lnTo>
                <a:lnTo>
                  <a:pt x="181808" y="7846"/>
                </a:lnTo>
                <a:lnTo>
                  <a:pt x="179868" y="4239"/>
                </a:lnTo>
                <a:close/>
                <a:moveTo>
                  <a:pt x="223135" y="4239"/>
                </a:moveTo>
                <a:lnTo>
                  <a:pt x="227588" y="7846"/>
                </a:lnTo>
                <a:lnTo>
                  <a:pt x="204323" y="7846"/>
                </a:lnTo>
                <a:lnTo>
                  <a:pt x="201097" y="4239"/>
                </a:lnTo>
                <a:close/>
                <a:moveTo>
                  <a:pt x="245543" y="4239"/>
                </a:moveTo>
                <a:lnTo>
                  <a:pt x="251258" y="7846"/>
                </a:lnTo>
                <a:lnTo>
                  <a:pt x="230207" y="7846"/>
                </a:lnTo>
                <a:lnTo>
                  <a:pt x="225754" y="4239"/>
                </a:lnTo>
                <a:close/>
                <a:moveTo>
                  <a:pt x="268438" y="4239"/>
                </a:moveTo>
                <a:lnTo>
                  <a:pt x="275499" y="7846"/>
                </a:lnTo>
                <a:lnTo>
                  <a:pt x="254294" y="7846"/>
                </a:lnTo>
                <a:lnTo>
                  <a:pt x="248567" y="4239"/>
                </a:lnTo>
                <a:close/>
                <a:moveTo>
                  <a:pt x="7382" y="9323"/>
                </a:moveTo>
                <a:lnTo>
                  <a:pt x="7382" y="9358"/>
                </a:lnTo>
                <a:lnTo>
                  <a:pt x="29099" y="9358"/>
                </a:lnTo>
                <a:lnTo>
                  <a:pt x="23753" y="12728"/>
                </a:lnTo>
                <a:lnTo>
                  <a:pt x="726" y="12728"/>
                </a:lnTo>
                <a:lnTo>
                  <a:pt x="7382" y="9323"/>
                </a:lnTo>
                <a:close/>
                <a:moveTo>
                  <a:pt x="53697" y="9358"/>
                </a:moveTo>
                <a:lnTo>
                  <a:pt x="49542" y="12728"/>
                </a:lnTo>
                <a:lnTo>
                  <a:pt x="26777" y="12728"/>
                </a:lnTo>
                <a:lnTo>
                  <a:pt x="32123" y="9358"/>
                </a:lnTo>
                <a:close/>
                <a:moveTo>
                  <a:pt x="80081" y="9358"/>
                </a:moveTo>
                <a:lnTo>
                  <a:pt x="77081" y="12728"/>
                </a:lnTo>
                <a:lnTo>
                  <a:pt x="52161" y="12728"/>
                </a:lnTo>
                <a:lnTo>
                  <a:pt x="56317" y="9358"/>
                </a:lnTo>
                <a:close/>
                <a:moveTo>
                  <a:pt x="103144" y="9358"/>
                </a:moveTo>
                <a:lnTo>
                  <a:pt x="101322" y="12728"/>
                </a:lnTo>
                <a:lnTo>
                  <a:pt x="79367" y="12728"/>
                </a:lnTo>
                <a:lnTo>
                  <a:pt x="82391" y="9358"/>
                </a:lnTo>
                <a:close/>
                <a:moveTo>
                  <a:pt x="127623" y="9358"/>
                </a:moveTo>
                <a:lnTo>
                  <a:pt x="127040" y="12728"/>
                </a:lnTo>
                <a:lnTo>
                  <a:pt x="103346" y="12728"/>
                </a:lnTo>
                <a:lnTo>
                  <a:pt x="105168" y="9358"/>
                </a:lnTo>
                <a:close/>
                <a:moveTo>
                  <a:pt x="156246" y="9358"/>
                </a:moveTo>
                <a:lnTo>
                  <a:pt x="156817" y="12728"/>
                </a:lnTo>
                <a:lnTo>
                  <a:pt x="128933" y="12728"/>
                </a:lnTo>
                <a:lnTo>
                  <a:pt x="129516" y="9358"/>
                </a:lnTo>
                <a:close/>
                <a:moveTo>
                  <a:pt x="180594" y="9358"/>
                </a:moveTo>
                <a:lnTo>
                  <a:pt x="182404" y="12728"/>
                </a:lnTo>
                <a:lnTo>
                  <a:pt x="158710" y="12728"/>
                </a:lnTo>
                <a:lnTo>
                  <a:pt x="158127" y="9358"/>
                </a:lnTo>
                <a:close/>
                <a:moveTo>
                  <a:pt x="203359" y="9358"/>
                </a:moveTo>
                <a:lnTo>
                  <a:pt x="206383" y="12728"/>
                </a:lnTo>
                <a:lnTo>
                  <a:pt x="184416" y="12728"/>
                </a:lnTo>
                <a:lnTo>
                  <a:pt x="182594" y="9358"/>
                </a:lnTo>
                <a:close/>
                <a:moveTo>
                  <a:pt x="229433" y="9358"/>
                </a:moveTo>
                <a:lnTo>
                  <a:pt x="233589" y="12728"/>
                </a:lnTo>
                <a:lnTo>
                  <a:pt x="208669" y="12728"/>
                </a:lnTo>
                <a:lnTo>
                  <a:pt x="205669" y="9358"/>
                </a:lnTo>
                <a:close/>
                <a:moveTo>
                  <a:pt x="253639" y="9358"/>
                </a:moveTo>
                <a:lnTo>
                  <a:pt x="258973" y="12728"/>
                </a:lnTo>
                <a:lnTo>
                  <a:pt x="236208" y="12728"/>
                </a:lnTo>
                <a:lnTo>
                  <a:pt x="232053" y="9358"/>
                </a:lnTo>
                <a:close/>
                <a:moveTo>
                  <a:pt x="278428" y="9358"/>
                </a:moveTo>
                <a:lnTo>
                  <a:pt x="285024" y="12728"/>
                </a:lnTo>
                <a:lnTo>
                  <a:pt x="261997" y="12728"/>
                </a:lnTo>
                <a:lnTo>
                  <a:pt x="256651" y="9358"/>
                </a:lnTo>
                <a:close/>
                <a:moveTo>
                  <a:pt x="47720" y="14240"/>
                </a:moveTo>
                <a:lnTo>
                  <a:pt x="41827" y="19014"/>
                </a:lnTo>
                <a:lnTo>
                  <a:pt x="16883" y="19003"/>
                </a:lnTo>
                <a:lnTo>
                  <a:pt x="24408" y="14240"/>
                </a:lnTo>
                <a:close/>
                <a:moveTo>
                  <a:pt x="75736" y="14240"/>
                </a:moveTo>
                <a:lnTo>
                  <a:pt x="71438" y="19038"/>
                </a:lnTo>
                <a:lnTo>
                  <a:pt x="44446" y="19014"/>
                </a:lnTo>
                <a:lnTo>
                  <a:pt x="50316" y="14240"/>
                </a:lnTo>
                <a:close/>
                <a:moveTo>
                  <a:pt x="100501" y="14240"/>
                </a:moveTo>
                <a:lnTo>
                  <a:pt x="97929" y="19062"/>
                </a:lnTo>
                <a:lnTo>
                  <a:pt x="73735" y="19038"/>
                </a:lnTo>
                <a:lnTo>
                  <a:pt x="78010" y="14240"/>
                </a:lnTo>
                <a:close/>
                <a:moveTo>
                  <a:pt x="126790" y="14240"/>
                </a:moveTo>
                <a:lnTo>
                  <a:pt x="125956" y="19086"/>
                </a:lnTo>
                <a:lnTo>
                  <a:pt x="99953" y="19062"/>
                </a:lnTo>
                <a:lnTo>
                  <a:pt x="102549" y="14240"/>
                </a:lnTo>
                <a:close/>
                <a:moveTo>
                  <a:pt x="157079" y="14216"/>
                </a:moveTo>
                <a:lnTo>
                  <a:pt x="157913" y="19098"/>
                </a:lnTo>
                <a:lnTo>
                  <a:pt x="127826" y="19086"/>
                </a:lnTo>
                <a:lnTo>
                  <a:pt x="128659" y="14216"/>
                </a:lnTo>
                <a:close/>
                <a:moveTo>
                  <a:pt x="183213" y="14216"/>
                </a:moveTo>
                <a:lnTo>
                  <a:pt x="183213" y="14240"/>
                </a:lnTo>
                <a:lnTo>
                  <a:pt x="185845" y="19145"/>
                </a:lnTo>
                <a:lnTo>
                  <a:pt x="159794" y="19122"/>
                </a:lnTo>
                <a:lnTo>
                  <a:pt x="158960" y="14216"/>
                </a:lnTo>
                <a:close/>
                <a:moveTo>
                  <a:pt x="207716" y="14240"/>
                </a:moveTo>
                <a:lnTo>
                  <a:pt x="212122" y="19181"/>
                </a:lnTo>
                <a:lnTo>
                  <a:pt x="212122" y="19181"/>
                </a:lnTo>
                <a:lnTo>
                  <a:pt x="187869" y="19145"/>
                </a:lnTo>
                <a:lnTo>
                  <a:pt x="185226" y="14240"/>
                </a:lnTo>
                <a:close/>
                <a:moveTo>
                  <a:pt x="235434" y="14216"/>
                </a:moveTo>
                <a:lnTo>
                  <a:pt x="241518" y="19181"/>
                </a:lnTo>
                <a:lnTo>
                  <a:pt x="214420" y="19157"/>
                </a:lnTo>
                <a:lnTo>
                  <a:pt x="210014" y="14216"/>
                </a:lnTo>
                <a:close/>
                <a:moveTo>
                  <a:pt x="261342" y="14240"/>
                </a:moveTo>
                <a:lnTo>
                  <a:pt x="269236" y="19217"/>
                </a:lnTo>
                <a:lnTo>
                  <a:pt x="244150" y="19193"/>
                </a:lnTo>
                <a:lnTo>
                  <a:pt x="238054" y="14240"/>
                </a:lnTo>
                <a:close/>
                <a:moveTo>
                  <a:pt x="72402" y="20527"/>
                </a:moveTo>
                <a:lnTo>
                  <a:pt x="97131" y="20562"/>
                </a:lnTo>
                <a:lnTo>
                  <a:pt x="94405" y="25622"/>
                </a:lnTo>
                <a:lnTo>
                  <a:pt x="67866" y="25622"/>
                </a:lnTo>
                <a:lnTo>
                  <a:pt x="72402" y="20527"/>
                </a:lnTo>
                <a:close/>
                <a:moveTo>
                  <a:pt x="160068" y="20622"/>
                </a:moveTo>
                <a:lnTo>
                  <a:pt x="186642" y="20634"/>
                </a:lnTo>
                <a:lnTo>
                  <a:pt x="189321" y="25622"/>
                </a:lnTo>
                <a:lnTo>
                  <a:pt x="160925" y="25622"/>
                </a:lnTo>
                <a:lnTo>
                  <a:pt x="160068" y="20622"/>
                </a:lnTo>
                <a:close/>
                <a:moveTo>
                  <a:pt x="188666" y="20634"/>
                </a:moveTo>
                <a:lnTo>
                  <a:pt x="213467" y="20669"/>
                </a:lnTo>
                <a:lnTo>
                  <a:pt x="217884" y="25622"/>
                </a:lnTo>
                <a:lnTo>
                  <a:pt x="191345" y="25622"/>
                </a:lnTo>
                <a:lnTo>
                  <a:pt x="188666" y="20634"/>
                </a:lnTo>
                <a:close/>
                <a:moveTo>
                  <a:pt x="245983" y="20693"/>
                </a:moveTo>
                <a:lnTo>
                  <a:pt x="271593" y="20705"/>
                </a:lnTo>
                <a:lnTo>
                  <a:pt x="279356" y="25622"/>
                </a:lnTo>
                <a:lnTo>
                  <a:pt x="252043" y="25622"/>
                </a:lnTo>
                <a:lnTo>
                  <a:pt x="245983" y="20693"/>
                </a:lnTo>
                <a:close/>
                <a:moveTo>
                  <a:pt x="14514" y="20491"/>
                </a:moveTo>
                <a:lnTo>
                  <a:pt x="39993" y="20515"/>
                </a:lnTo>
                <a:lnTo>
                  <a:pt x="33707" y="25634"/>
                </a:lnTo>
                <a:lnTo>
                  <a:pt x="6406" y="25634"/>
                </a:lnTo>
                <a:lnTo>
                  <a:pt x="6406" y="25622"/>
                </a:lnTo>
                <a:lnTo>
                  <a:pt x="14514" y="20491"/>
                </a:lnTo>
                <a:close/>
                <a:moveTo>
                  <a:pt x="42601" y="20515"/>
                </a:moveTo>
                <a:lnTo>
                  <a:pt x="70116" y="20550"/>
                </a:lnTo>
                <a:lnTo>
                  <a:pt x="65580" y="25634"/>
                </a:lnTo>
                <a:lnTo>
                  <a:pt x="36314" y="25634"/>
                </a:lnTo>
                <a:lnTo>
                  <a:pt x="42601" y="20515"/>
                </a:lnTo>
                <a:close/>
                <a:moveTo>
                  <a:pt x="99155" y="20562"/>
                </a:moveTo>
                <a:lnTo>
                  <a:pt x="125706" y="20586"/>
                </a:lnTo>
                <a:lnTo>
                  <a:pt x="124837" y="25634"/>
                </a:lnTo>
                <a:lnTo>
                  <a:pt x="96429" y="25634"/>
                </a:lnTo>
                <a:lnTo>
                  <a:pt x="99155" y="20562"/>
                </a:lnTo>
                <a:close/>
                <a:moveTo>
                  <a:pt x="127575" y="20610"/>
                </a:moveTo>
                <a:lnTo>
                  <a:pt x="158175" y="20622"/>
                </a:lnTo>
                <a:lnTo>
                  <a:pt x="159032" y="25634"/>
                </a:lnTo>
                <a:lnTo>
                  <a:pt x="126718" y="25634"/>
                </a:lnTo>
                <a:lnTo>
                  <a:pt x="127575" y="20610"/>
                </a:lnTo>
                <a:close/>
                <a:moveTo>
                  <a:pt x="215753" y="20669"/>
                </a:moveTo>
                <a:lnTo>
                  <a:pt x="243364" y="20693"/>
                </a:lnTo>
                <a:lnTo>
                  <a:pt x="249424" y="25634"/>
                </a:lnTo>
                <a:lnTo>
                  <a:pt x="220182" y="25634"/>
                </a:lnTo>
                <a:lnTo>
                  <a:pt x="215753" y="20669"/>
                </a:lnTo>
                <a:close/>
                <a:moveTo>
                  <a:pt x="64234" y="27123"/>
                </a:moveTo>
                <a:lnTo>
                  <a:pt x="59067" y="32909"/>
                </a:lnTo>
                <a:lnTo>
                  <a:pt x="27372" y="32909"/>
                </a:lnTo>
                <a:lnTo>
                  <a:pt x="34481" y="27123"/>
                </a:lnTo>
                <a:close/>
                <a:moveTo>
                  <a:pt x="93595" y="27123"/>
                </a:moveTo>
                <a:lnTo>
                  <a:pt x="90488" y="32909"/>
                </a:lnTo>
                <a:lnTo>
                  <a:pt x="61365" y="32909"/>
                </a:lnTo>
                <a:lnTo>
                  <a:pt x="66532" y="27123"/>
                </a:lnTo>
                <a:close/>
                <a:moveTo>
                  <a:pt x="124575" y="27123"/>
                </a:moveTo>
                <a:lnTo>
                  <a:pt x="123575" y="32909"/>
                </a:lnTo>
                <a:lnTo>
                  <a:pt x="92512" y="32909"/>
                </a:lnTo>
                <a:lnTo>
                  <a:pt x="95619" y="27123"/>
                </a:lnTo>
                <a:close/>
                <a:moveTo>
                  <a:pt x="159306" y="27123"/>
                </a:moveTo>
                <a:lnTo>
                  <a:pt x="160306" y="32909"/>
                </a:lnTo>
                <a:lnTo>
                  <a:pt x="125444" y="32909"/>
                </a:lnTo>
                <a:lnTo>
                  <a:pt x="126444" y="27123"/>
                </a:lnTo>
                <a:close/>
                <a:moveTo>
                  <a:pt x="190131" y="27123"/>
                </a:moveTo>
                <a:lnTo>
                  <a:pt x="193238" y="32909"/>
                </a:lnTo>
                <a:lnTo>
                  <a:pt x="162175" y="32909"/>
                </a:lnTo>
                <a:lnTo>
                  <a:pt x="161187" y="27123"/>
                </a:lnTo>
                <a:close/>
                <a:moveTo>
                  <a:pt x="219230" y="27123"/>
                </a:moveTo>
                <a:lnTo>
                  <a:pt x="224385" y="32909"/>
                </a:lnTo>
                <a:lnTo>
                  <a:pt x="195263" y="32909"/>
                </a:lnTo>
                <a:lnTo>
                  <a:pt x="192155" y="27123"/>
                </a:lnTo>
                <a:close/>
                <a:moveTo>
                  <a:pt x="251270" y="27123"/>
                </a:moveTo>
                <a:lnTo>
                  <a:pt x="258378" y="32909"/>
                </a:lnTo>
                <a:lnTo>
                  <a:pt x="226683" y="32909"/>
                </a:lnTo>
                <a:lnTo>
                  <a:pt x="221516" y="27123"/>
                </a:lnTo>
                <a:close/>
                <a:moveTo>
                  <a:pt x="57733" y="34421"/>
                </a:moveTo>
                <a:lnTo>
                  <a:pt x="49959" y="43136"/>
                </a:lnTo>
                <a:lnTo>
                  <a:pt x="14823" y="43136"/>
                </a:lnTo>
                <a:lnTo>
                  <a:pt x="25527" y="34421"/>
                </a:lnTo>
                <a:close/>
                <a:moveTo>
                  <a:pt x="89690" y="34421"/>
                </a:moveTo>
                <a:lnTo>
                  <a:pt x="85011" y="43136"/>
                </a:lnTo>
                <a:lnTo>
                  <a:pt x="52245" y="43136"/>
                </a:lnTo>
                <a:lnTo>
                  <a:pt x="60008" y="34421"/>
                </a:lnTo>
                <a:close/>
                <a:moveTo>
                  <a:pt x="123325" y="34421"/>
                </a:moveTo>
                <a:lnTo>
                  <a:pt x="121813" y="43136"/>
                </a:lnTo>
                <a:lnTo>
                  <a:pt x="87035" y="43136"/>
                </a:lnTo>
                <a:lnTo>
                  <a:pt x="91714" y="34421"/>
                </a:lnTo>
                <a:close/>
                <a:moveTo>
                  <a:pt x="160556" y="34421"/>
                </a:moveTo>
                <a:lnTo>
                  <a:pt x="162056" y="43136"/>
                </a:lnTo>
                <a:lnTo>
                  <a:pt x="123694" y="43136"/>
                </a:lnTo>
                <a:lnTo>
                  <a:pt x="125194" y="34421"/>
                </a:lnTo>
                <a:close/>
                <a:moveTo>
                  <a:pt x="194048" y="34421"/>
                </a:moveTo>
                <a:lnTo>
                  <a:pt x="198715" y="43136"/>
                </a:lnTo>
                <a:lnTo>
                  <a:pt x="163937" y="43136"/>
                </a:lnTo>
                <a:lnTo>
                  <a:pt x="162437" y="34421"/>
                </a:lnTo>
                <a:close/>
                <a:moveTo>
                  <a:pt x="225731" y="34421"/>
                </a:moveTo>
                <a:lnTo>
                  <a:pt x="233493" y="43136"/>
                </a:lnTo>
                <a:lnTo>
                  <a:pt x="200739" y="43136"/>
                </a:lnTo>
                <a:lnTo>
                  <a:pt x="196072" y="34421"/>
                </a:lnTo>
                <a:close/>
                <a:moveTo>
                  <a:pt x="260223" y="34421"/>
                </a:moveTo>
                <a:lnTo>
                  <a:pt x="270927" y="43136"/>
                </a:lnTo>
                <a:lnTo>
                  <a:pt x="235791" y="43136"/>
                </a:lnTo>
                <a:lnTo>
                  <a:pt x="228017" y="34421"/>
                </a:lnTo>
                <a:close/>
                <a:moveTo>
                  <a:pt x="84201" y="44637"/>
                </a:moveTo>
                <a:lnTo>
                  <a:pt x="78403" y="55447"/>
                </a:lnTo>
                <a:lnTo>
                  <a:pt x="41267" y="55447"/>
                </a:lnTo>
                <a:lnTo>
                  <a:pt x="50911" y="44637"/>
                </a:lnTo>
                <a:close/>
                <a:moveTo>
                  <a:pt x="121563" y="44637"/>
                </a:moveTo>
                <a:lnTo>
                  <a:pt x="119705" y="55447"/>
                </a:lnTo>
                <a:lnTo>
                  <a:pt x="80427" y="55447"/>
                </a:lnTo>
                <a:lnTo>
                  <a:pt x="86237" y="44637"/>
                </a:lnTo>
                <a:close/>
                <a:moveTo>
                  <a:pt x="162330" y="44637"/>
                </a:moveTo>
                <a:lnTo>
                  <a:pt x="164187" y="55447"/>
                </a:lnTo>
                <a:lnTo>
                  <a:pt x="121575" y="55447"/>
                </a:lnTo>
                <a:lnTo>
                  <a:pt x="123444" y="44637"/>
                </a:lnTo>
                <a:close/>
                <a:moveTo>
                  <a:pt x="199525" y="44637"/>
                </a:moveTo>
                <a:lnTo>
                  <a:pt x="205323" y="55447"/>
                </a:lnTo>
                <a:lnTo>
                  <a:pt x="166045" y="55447"/>
                </a:lnTo>
                <a:lnTo>
                  <a:pt x="164187" y="44637"/>
                </a:lnTo>
                <a:close/>
                <a:moveTo>
                  <a:pt x="234839" y="44637"/>
                </a:moveTo>
                <a:lnTo>
                  <a:pt x="244483" y="55447"/>
                </a:lnTo>
                <a:lnTo>
                  <a:pt x="207347" y="55447"/>
                </a:lnTo>
                <a:lnTo>
                  <a:pt x="201549" y="44637"/>
                </a:lnTo>
                <a:close/>
                <a:moveTo>
                  <a:pt x="22027" y="0"/>
                </a:moveTo>
                <a:lnTo>
                  <a:pt x="0" y="11335"/>
                </a:lnTo>
                <a:lnTo>
                  <a:pt x="0" y="14240"/>
                </a:lnTo>
                <a:lnTo>
                  <a:pt x="21384" y="14240"/>
                </a:lnTo>
                <a:lnTo>
                  <a:pt x="13871" y="19003"/>
                </a:lnTo>
                <a:lnTo>
                  <a:pt x="0" y="18979"/>
                </a:lnTo>
                <a:lnTo>
                  <a:pt x="0" y="20491"/>
                </a:lnTo>
                <a:lnTo>
                  <a:pt x="11501" y="20503"/>
                </a:lnTo>
                <a:lnTo>
                  <a:pt x="3381" y="25634"/>
                </a:lnTo>
                <a:lnTo>
                  <a:pt x="0" y="25634"/>
                </a:lnTo>
                <a:lnTo>
                  <a:pt x="0" y="27134"/>
                </a:lnTo>
                <a:lnTo>
                  <a:pt x="1012" y="27134"/>
                </a:lnTo>
                <a:lnTo>
                  <a:pt x="0" y="27765"/>
                </a:lnTo>
                <a:lnTo>
                  <a:pt x="0" y="29670"/>
                </a:lnTo>
                <a:lnTo>
                  <a:pt x="4036" y="27123"/>
                </a:lnTo>
                <a:lnTo>
                  <a:pt x="31861" y="27123"/>
                </a:lnTo>
                <a:lnTo>
                  <a:pt x="24753" y="32909"/>
                </a:lnTo>
                <a:lnTo>
                  <a:pt x="0" y="32909"/>
                </a:lnTo>
                <a:lnTo>
                  <a:pt x="0" y="34409"/>
                </a:lnTo>
                <a:lnTo>
                  <a:pt x="22908" y="34409"/>
                </a:lnTo>
                <a:lnTo>
                  <a:pt x="12204" y="43136"/>
                </a:lnTo>
                <a:lnTo>
                  <a:pt x="0" y="43136"/>
                </a:lnTo>
                <a:lnTo>
                  <a:pt x="0" y="44637"/>
                </a:lnTo>
                <a:lnTo>
                  <a:pt x="10358" y="44637"/>
                </a:lnTo>
                <a:lnTo>
                  <a:pt x="0" y="53066"/>
                </a:lnTo>
                <a:lnTo>
                  <a:pt x="0" y="55197"/>
                </a:lnTo>
                <a:lnTo>
                  <a:pt x="12978" y="44625"/>
                </a:lnTo>
                <a:lnTo>
                  <a:pt x="48625" y="44625"/>
                </a:lnTo>
                <a:lnTo>
                  <a:pt x="38981" y="55436"/>
                </a:lnTo>
                <a:lnTo>
                  <a:pt x="0" y="55436"/>
                </a:lnTo>
                <a:lnTo>
                  <a:pt x="0" y="56936"/>
                </a:lnTo>
                <a:lnTo>
                  <a:pt x="37636" y="56936"/>
                </a:lnTo>
                <a:lnTo>
                  <a:pt x="31004" y="64389"/>
                </a:lnTo>
                <a:lnTo>
                  <a:pt x="33290" y="64389"/>
                </a:lnTo>
                <a:lnTo>
                  <a:pt x="39934" y="56936"/>
                </a:lnTo>
                <a:lnTo>
                  <a:pt x="77605" y="56936"/>
                </a:lnTo>
                <a:lnTo>
                  <a:pt x="73593" y="64389"/>
                </a:lnTo>
                <a:lnTo>
                  <a:pt x="75617" y="64389"/>
                </a:lnTo>
                <a:lnTo>
                  <a:pt x="79629" y="56936"/>
                </a:lnTo>
                <a:lnTo>
                  <a:pt x="119432" y="56936"/>
                </a:lnTo>
                <a:lnTo>
                  <a:pt x="118158" y="64389"/>
                </a:lnTo>
                <a:lnTo>
                  <a:pt x="120027" y="64389"/>
                </a:lnTo>
                <a:lnTo>
                  <a:pt x="121313" y="56936"/>
                </a:lnTo>
                <a:lnTo>
                  <a:pt x="164425" y="56936"/>
                </a:lnTo>
                <a:lnTo>
                  <a:pt x="165699" y="64389"/>
                </a:lnTo>
                <a:lnTo>
                  <a:pt x="167580" y="64389"/>
                </a:lnTo>
                <a:lnTo>
                  <a:pt x="166295" y="56936"/>
                </a:lnTo>
                <a:lnTo>
                  <a:pt x="206133" y="56936"/>
                </a:lnTo>
                <a:lnTo>
                  <a:pt x="210133" y="64389"/>
                </a:lnTo>
                <a:lnTo>
                  <a:pt x="212157" y="64389"/>
                </a:lnTo>
                <a:lnTo>
                  <a:pt x="208157" y="56936"/>
                </a:lnTo>
                <a:lnTo>
                  <a:pt x="245805" y="56936"/>
                </a:lnTo>
                <a:lnTo>
                  <a:pt x="252436" y="64389"/>
                </a:lnTo>
                <a:lnTo>
                  <a:pt x="254734" y="64389"/>
                </a:lnTo>
                <a:lnTo>
                  <a:pt x="248102" y="56936"/>
                </a:lnTo>
                <a:lnTo>
                  <a:pt x="285750" y="56936"/>
                </a:lnTo>
                <a:lnTo>
                  <a:pt x="285750" y="55424"/>
                </a:lnTo>
                <a:lnTo>
                  <a:pt x="246769" y="55424"/>
                </a:lnTo>
                <a:lnTo>
                  <a:pt x="237125" y="44625"/>
                </a:lnTo>
                <a:lnTo>
                  <a:pt x="272772" y="44625"/>
                </a:lnTo>
                <a:lnTo>
                  <a:pt x="285750" y="55186"/>
                </a:lnTo>
                <a:lnTo>
                  <a:pt x="285750" y="53066"/>
                </a:lnTo>
                <a:lnTo>
                  <a:pt x="275392" y="44625"/>
                </a:lnTo>
                <a:lnTo>
                  <a:pt x="285750" y="44625"/>
                </a:lnTo>
                <a:lnTo>
                  <a:pt x="285750" y="43125"/>
                </a:lnTo>
                <a:lnTo>
                  <a:pt x="273546" y="43125"/>
                </a:lnTo>
                <a:lnTo>
                  <a:pt x="262842" y="34397"/>
                </a:lnTo>
                <a:lnTo>
                  <a:pt x="285750" y="34397"/>
                </a:lnTo>
                <a:lnTo>
                  <a:pt x="285750" y="32897"/>
                </a:lnTo>
                <a:lnTo>
                  <a:pt x="260997" y="32897"/>
                </a:lnTo>
                <a:lnTo>
                  <a:pt x="253889" y="27111"/>
                </a:lnTo>
                <a:lnTo>
                  <a:pt x="281714" y="27111"/>
                </a:lnTo>
                <a:lnTo>
                  <a:pt x="285738" y="29647"/>
                </a:lnTo>
                <a:lnTo>
                  <a:pt x="285738" y="27742"/>
                </a:lnTo>
                <a:lnTo>
                  <a:pt x="284726" y="27111"/>
                </a:lnTo>
                <a:lnTo>
                  <a:pt x="285738" y="27111"/>
                </a:lnTo>
                <a:lnTo>
                  <a:pt x="285738" y="25599"/>
                </a:lnTo>
                <a:lnTo>
                  <a:pt x="282357" y="25599"/>
                </a:lnTo>
                <a:lnTo>
                  <a:pt x="274606" y="20693"/>
                </a:lnTo>
                <a:lnTo>
                  <a:pt x="274606" y="20693"/>
                </a:lnTo>
                <a:lnTo>
                  <a:pt x="285738" y="20705"/>
                </a:lnTo>
                <a:lnTo>
                  <a:pt x="285738" y="19205"/>
                </a:lnTo>
                <a:lnTo>
                  <a:pt x="272225" y="19193"/>
                </a:lnTo>
                <a:lnTo>
                  <a:pt x="264331" y="14204"/>
                </a:lnTo>
                <a:lnTo>
                  <a:pt x="285750" y="14204"/>
                </a:lnTo>
                <a:lnTo>
                  <a:pt x="285750" y="11299"/>
                </a:lnTo>
                <a:lnTo>
                  <a:pt x="263950" y="119"/>
                </a:lnTo>
                <a:lnTo>
                  <a:pt x="263723" y="0"/>
                </a:lnTo>
                <a:close/>
              </a:path>
            </a:pathLst>
          </a:custGeom>
          <a:gradFill>
            <a:gsLst>
              <a:gs pos="0">
                <a:srgbClr val="E5E1CC">
                  <a:alpha val="0"/>
                </a:srgbClr>
              </a:gs>
              <a:gs pos="50000">
                <a:srgbClr val="9B1135">
                  <a:alpha val="58431"/>
                </a:srgbClr>
              </a:gs>
              <a:gs pos="100000">
                <a:schemeClr val="accent2"/>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41" name="Google Shape;541;p30"/>
          <p:cNvGrpSpPr/>
          <p:nvPr/>
        </p:nvGrpSpPr>
        <p:grpSpPr>
          <a:xfrm>
            <a:off x="6905625" y="533400"/>
            <a:ext cx="1935975" cy="1031100"/>
            <a:chOff x="4600575" y="533400"/>
            <a:chExt cx="1935975" cy="1031100"/>
          </a:xfrm>
        </p:grpSpPr>
        <p:sp>
          <p:nvSpPr>
            <p:cNvPr id="542" name="Google Shape;542;p30"/>
            <p:cNvSpPr/>
            <p:nvPr/>
          </p:nvSpPr>
          <p:spPr>
            <a:xfrm>
              <a:off x="4600575" y="533400"/>
              <a:ext cx="1031100" cy="1031100"/>
            </a:xfrm>
            <a:prstGeom prst="ellipse">
              <a:avLst/>
            </a:prstGeom>
            <a:noFill/>
            <a:ln w="28575"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543;p30"/>
            <p:cNvSpPr/>
            <p:nvPr/>
          </p:nvSpPr>
          <p:spPr>
            <a:xfrm>
              <a:off x="4826794" y="533400"/>
              <a:ext cx="1031100" cy="1031100"/>
            </a:xfrm>
            <a:prstGeom prst="ellipse">
              <a:avLst/>
            </a:prstGeom>
            <a:noFill/>
            <a:ln w="2857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544;p30"/>
            <p:cNvSpPr/>
            <p:nvPr/>
          </p:nvSpPr>
          <p:spPr>
            <a:xfrm>
              <a:off x="5053013" y="533400"/>
              <a:ext cx="1031100" cy="1031100"/>
            </a:xfrm>
            <a:prstGeom prst="ellipse">
              <a:avLst/>
            </a:prstGeom>
            <a:noFill/>
            <a:ln w="2857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545;p30"/>
            <p:cNvSpPr/>
            <p:nvPr/>
          </p:nvSpPr>
          <p:spPr>
            <a:xfrm>
              <a:off x="5279231" y="533400"/>
              <a:ext cx="1031100" cy="1031100"/>
            </a:xfrm>
            <a:prstGeom prst="ellipse">
              <a:avLst/>
            </a:prstGeom>
            <a:noFill/>
            <a:ln w="2857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546;p30"/>
            <p:cNvSpPr/>
            <p:nvPr/>
          </p:nvSpPr>
          <p:spPr>
            <a:xfrm>
              <a:off x="5505450" y="533400"/>
              <a:ext cx="1031100" cy="1031100"/>
            </a:xfrm>
            <a:prstGeom prst="ellipse">
              <a:avLst/>
            </a:prstGeom>
            <a:noFill/>
            <a:ln w="2857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49"/>
        <p:cNvGrpSpPr/>
        <p:nvPr/>
      </p:nvGrpSpPr>
      <p:grpSpPr>
        <a:xfrm>
          <a:off x="0" y="0"/>
          <a:ext cx="0" cy="0"/>
          <a:chOff x="0" y="0"/>
          <a:chExt cx="0" cy="0"/>
        </a:xfrm>
      </p:grpSpPr>
      <p:sp>
        <p:nvSpPr>
          <p:cNvPr id="50" name="Google Shape;50;p3"/>
          <p:cNvSpPr/>
          <p:nvPr/>
        </p:nvSpPr>
        <p:spPr>
          <a:xfrm rot="10800000">
            <a:off x="0" y="-27"/>
            <a:ext cx="9144000" cy="1438312"/>
          </a:xfrm>
          <a:custGeom>
            <a:avLst/>
            <a:gdLst/>
            <a:ahLst/>
            <a:cxnLst/>
            <a:rect l="l" t="t" r="r" b="b"/>
            <a:pathLst>
              <a:path w="285750" h="64390" extrusionOk="0">
                <a:moveTo>
                  <a:pt x="41446" y="1536"/>
                </a:moveTo>
                <a:lnTo>
                  <a:pt x="39576" y="2727"/>
                </a:lnTo>
                <a:lnTo>
                  <a:pt x="20253" y="2727"/>
                </a:lnTo>
                <a:lnTo>
                  <a:pt x="22574" y="1536"/>
                </a:lnTo>
                <a:close/>
                <a:moveTo>
                  <a:pt x="63294" y="1536"/>
                </a:moveTo>
                <a:lnTo>
                  <a:pt x="61841" y="2727"/>
                </a:lnTo>
                <a:lnTo>
                  <a:pt x="42577" y="2727"/>
                </a:lnTo>
                <a:lnTo>
                  <a:pt x="44458" y="1536"/>
                </a:lnTo>
                <a:close/>
                <a:moveTo>
                  <a:pt x="87070" y="1536"/>
                </a:moveTo>
                <a:lnTo>
                  <a:pt x="85987" y="2727"/>
                </a:lnTo>
                <a:lnTo>
                  <a:pt x="64449" y="2727"/>
                </a:lnTo>
                <a:lnTo>
                  <a:pt x="65913" y="1536"/>
                </a:lnTo>
                <a:close/>
                <a:moveTo>
                  <a:pt x="107335" y="1536"/>
                </a:moveTo>
                <a:lnTo>
                  <a:pt x="106692" y="2727"/>
                </a:lnTo>
                <a:lnTo>
                  <a:pt x="88285" y="2727"/>
                </a:lnTo>
                <a:lnTo>
                  <a:pt x="89345" y="1536"/>
                </a:lnTo>
                <a:close/>
                <a:moveTo>
                  <a:pt x="128969" y="1536"/>
                </a:moveTo>
                <a:lnTo>
                  <a:pt x="128766" y="2727"/>
                </a:lnTo>
                <a:lnTo>
                  <a:pt x="108716" y="2727"/>
                </a:lnTo>
                <a:lnTo>
                  <a:pt x="109359" y="1536"/>
                </a:lnTo>
                <a:close/>
                <a:moveTo>
                  <a:pt x="154900" y="1536"/>
                </a:moveTo>
                <a:lnTo>
                  <a:pt x="155115" y="2727"/>
                </a:lnTo>
                <a:lnTo>
                  <a:pt x="130647" y="2727"/>
                </a:lnTo>
                <a:lnTo>
                  <a:pt x="130850" y="1536"/>
                </a:lnTo>
                <a:close/>
                <a:moveTo>
                  <a:pt x="176391" y="1536"/>
                </a:moveTo>
                <a:lnTo>
                  <a:pt x="177034" y="2727"/>
                </a:lnTo>
                <a:lnTo>
                  <a:pt x="156984" y="2727"/>
                </a:lnTo>
                <a:lnTo>
                  <a:pt x="156770" y="1536"/>
                </a:lnTo>
                <a:close/>
                <a:moveTo>
                  <a:pt x="196394" y="1536"/>
                </a:moveTo>
                <a:lnTo>
                  <a:pt x="197465" y="2727"/>
                </a:lnTo>
                <a:lnTo>
                  <a:pt x="179058" y="2727"/>
                </a:lnTo>
                <a:lnTo>
                  <a:pt x="178415" y="1536"/>
                </a:lnTo>
                <a:close/>
                <a:moveTo>
                  <a:pt x="219837" y="1536"/>
                </a:moveTo>
                <a:lnTo>
                  <a:pt x="221290" y="2727"/>
                </a:lnTo>
                <a:lnTo>
                  <a:pt x="199751" y="2727"/>
                </a:lnTo>
                <a:lnTo>
                  <a:pt x="198680" y="1536"/>
                </a:lnTo>
                <a:close/>
                <a:moveTo>
                  <a:pt x="241292" y="1536"/>
                </a:moveTo>
                <a:lnTo>
                  <a:pt x="243173" y="2727"/>
                </a:lnTo>
                <a:lnTo>
                  <a:pt x="223909" y="2727"/>
                </a:lnTo>
                <a:lnTo>
                  <a:pt x="222456" y="1536"/>
                </a:lnTo>
                <a:close/>
                <a:moveTo>
                  <a:pt x="263176" y="1536"/>
                </a:moveTo>
                <a:lnTo>
                  <a:pt x="265497" y="2727"/>
                </a:lnTo>
                <a:lnTo>
                  <a:pt x="246174" y="2727"/>
                </a:lnTo>
                <a:lnTo>
                  <a:pt x="244304" y="1536"/>
                </a:lnTo>
                <a:close/>
                <a:moveTo>
                  <a:pt x="37195" y="4215"/>
                </a:moveTo>
                <a:lnTo>
                  <a:pt x="31480" y="7834"/>
                </a:lnTo>
                <a:lnTo>
                  <a:pt x="10251" y="7834"/>
                </a:lnTo>
                <a:lnTo>
                  <a:pt x="17324" y="4215"/>
                </a:lnTo>
                <a:close/>
                <a:moveTo>
                  <a:pt x="128516" y="4215"/>
                </a:moveTo>
                <a:lnTo>
                  <a:pt x="127885" y="7834"/>
                </a:lnTo>
                <a:lnTo>
                  <a:pt x="105966" y="7834"/>
                </a:lnTo>
                <a:lnTo>
                  <a:pt x="107918" y="4215"/>
                </a:lnTo>
                <a:close/>
                <a:moveTo>
                  <a:pt x="155365" y="4215"/>
                </a:moveTo>
                <a:lnTo>
                  <a:pt x="155984" y="7834"/>
                </a:lnTo>
                <a:lnTo>
                  <a:pt x="129766" y="7834"/>
                </a:lnTo>
                <a:lnTo>
                  <a:pt x="130385" y="4215"/>
                </a:lnTo>
                <a:close/>
                <a:moveTo>
                  <a:pt x="59996" y="4239"/>
                </a:moveTo>
                <a:lnTo>
                  <a:pt x="55543" y="7846"/>
                </a:lnTo>
                <a:lnTo>
                  <a:pt x="34481" y="7846"/>
                </a:lnTo>
                <a:lnTo>
                  <a:pt x="40219" y="4239"/>
                </a:lnTo>
                <a:close/>
                <a:moveTo>
                  <a:pt x="84665" y="4239"/>
                </a:moveTo>
                <a:lnTo>
                  <a:pt x="81427" y="7846"/>
                </a:lnTo>
                <a:lnTo>
                  <a:pt x="58162" y="7846"/>
                </a:lnTo>
                <a:lnTo>
                  <a:pt x="62615" y="4239"/>
                </a:lnTo>
                <a:close/>
                <a:moveTo>
                  <a:pt x="105894" y="4239"/>
                </a:moveTo>
                <a:lnTo>
                  <a:pt x="103942" y="7846"/>
                </a:lnTo>
                <a:lnTo>
                  <a:pt x="83713" y="7846"/>
                </a:lnTo>
                <a:lnTo>
                  <a:pt x="86951" y="4239"/>
                </a:lnTo>
                <a:close/>
                <a:moveTo>
                  <a:pt x="177832" y="4239"/>
                </a:moveTo>
                <a:lnTo>
                  <a:pt x="179784" y="7846"/>
                </a:lnTo>
                <a:lnTo>
                  <a:pt x="157865" y="7846"/>
                </a:lnTo>
                <a:lnTo>
                  <a:pt x="157234" y="4239"/>
                </a:lnTo>
                <a:close/>
                <a:moveTo>
                  <a:pt x="198811" y="4239"/>
                </a:moveTo>
                <a:lnTo>
                  <a:pt x="202037" y="7846"/>
                </a:lnTo>
                <a:lnTo>
                  <a:pt x="181808" y="7846"/>
                </a:lnTo>
                <a:lnTo>
                  <a:pt x="179868" y="4239"/>
                </a:lnTo>
                <a:close/>
                <a:moveTo>
                  <a:pt x="223135" y="4239"/>
                </a:moveTo>
                <a:lnTo>
                  <a:pt x="227588" y="7846"/>
                </a:lnTo>
                <a:lnTo>
                  <a:pt x="204323" y="7846"/>
                </a:lnTo>
                <a:lnTo>
                  <a:pt x="201097" y="4239"/>
                </a:lnTo>
                <a:close/>
                <a:moveTo>
                  <a:pt x="245543" y="4239"/>
                </a:moveTo>
                <a:lnTo>
                  <a:pt x="251258" y="7846"/>
                </a:lnTo>
                <a:lnTo>
                  <a:pt x="230207" y="7846"/>
                </a:lnTo>
                <a:lnTo>
                  <a:pt x="225754" y="4239"/>
                </a:lnTo>
                <a:close/>
                <a:moveTo>
                  <a:pt x="268438" y="4239"/>
                </a:moveTo>
                <a:lnTo>
                  <a:pt x="275499" y="7846"/>
                </a:lnTo>
                <a:lnTo>
                  <a:pt x="254294" y="7846"/>
                </a:lnTo>
                <a:lnTo>
                  <a:pt x="248567" y="4239"/>
                </a:lnTo>
                <a:close/>
                <a:moveTo>
                  <a:pt x="7382" y="9323"/>
                </a:moveTo>
                <a:lnTo>
                  <a:pt x="7382" y="9358"/>
                </a:lnTo>
                <a:lnTo>
                  <a:pt x="29099" y="9358"/>
                </a:lnTo>
                <a:lnTo>
                  <a:pt x="23753" y="12728"/>
                </a:lnTo>
                <a:lnTo>
                  <a:pt x="726" y="12728"/>
                </a:lnTo>
                <a:lnTo>
                  <a:pt x="7382" y="9323"/>
                </a:lnTo>
                <a:close/>
                <a:moveTo>
                  <a:pt x="53697" y="9358"/>
                </a:moveTo>
                <a:lnTo>
                  <a:pt x="49542" y="12728"/>
                </a:lnTo>
                <a:lnTo>
                  <a:pt x="26777" y="12728"/>
                </a:lnTo>
                <a:lnTo>
                  <a:pt x="32123" y="9358"/>
                </a:lnTo>
                <a:close/>
                <a:moveTo>
                  <a:pt x="80081" y="9358"/>
                </a:moveTo>
                <a:lnTo>
                  <a:pt x="77081" y="12728"/>
                </a:lnTo>
                <a:lnTo>
                  <a:pt x="52161" y="12728"/>
                </a:lnTo>
                <a:lnTo>
                  <a:pt x="56317" y="9358"/>
                </a:lnTo>
                <a:close/>
                <a:moveTo>
                  <a:pt x="103144" y="9358"/>
                </a:moveTo>
                <a:lnTo>
                  <a:pt x="101322" y="12728"/>
                </a:lnTo>
                <a:lnTo>
                  <a:pt x="79367" y="12728"/>
                </a:lnTo>
                <a:lnTo>
                  <a:pt x="82391" y="9358"/>
                </a:lnTo>
                <a:close/>
                <a:moveTo>
                  <a:pt x="127623" y="9358"/>
                </a:moveTo>
                <a:lnTo>
                  <a:pt x="127040" y="12728"/>
                </a:lnTo>
                <a:lnTo>
                  <a:pt x="103346" y="12728"/>
                </a:lnTo>
                <a:lnTo>
                  <a:pt x="105168" y="9358"/>
                </a:lnTo>
                <a:close/>
                <a:moveTo>
                  <a:pt x="156246" y="9358"/>
                </a:moveTo>
                <a:lnTo>
                  <a:pt x="156817" y="12728"/>
                </a:lnTo>
                <a:lnTo>
                  <a:pt x="128933" y="12728"/>
                </a:lnTo>
                <a:lnTo>
                  <a:pt x="129516" y="9358"/>
                </a:lnTo>
                <a:close/>
                <a:moveTo>
                  <a:pt x="180594" y="9358"/>
                </a:moveTo>
                <a:lnTo>
                  <a:pt x="182404" y="12728"/>
                </a:lnTo>
                <a:lnTo>
                  <a:pt x="158710" y="12728"/>
                </a:lnTo>
                <a:lnTo>
                  <a:pt x="158127" y="9358"/>
                </a:lnTo>
                <a:close/>
                <a:moveTo>
                  <a:pt x="203359" y="9358"/>
                </a:moveTo>
                <a:lnTo>
                  <a:pt x="206383" y="12728"/>
                </a:lnTo>
                <a:lnTo>
                  <a:pt x="184416" y="12728"/>
                </a:lnTo>
                <a:lnTo>
                  <a:pt x="182594" y="9358"/>
                </a:lnTo>
                <a:close/>
                <a:moveTo>
                  <a:pt x="229433" y="9358"/>
                </a:moveTo>
                <a:lnTo>
                  <a:pt x="233589" y="12728"/>
                </a:lnTo>
                <a:lnTo>
                  <a:pt x="208669" y="12728"/>
                </a:lnTo>
                <a:lnTo>
                  <a:pt x="205669" y="9358"/>
                </a:lnTo>
                <a:close/>
                <a:moveTo>
                  <a:pt x="253639" y="9358"/>
                </a:moveTo>
                <a:lnTo>
                  <a:pt x="258973" y="12728"/>
                </a:lnTo>
                <a:lnTo>
                  <a:pt x="236208" y="12728"/>
                </a:lnTo>
                <a:lnTo>
                  <a:pt x="232053" y="9358"/>
                </a:lnTo>
                <a:close/>
                <a:moveTo>
                  <a:pt x="278428" y="9358"/>
                </a:moveTo>
                <a:lnTo>
                  <a:pt x="285024" y="12728"/>
                </a:lnTo>
                <a:lnTo>
                  <a:pt x="261997" y="12728"/>
                </a:lnTo>
                <a:lnTo>
                  <a:pt x="256651" y="9358"/>
                </a:lnTo>
                <a:close/>
                <a:moveTo>
                  <a:pt x="47720" y="14240"/>
                </a:moveTo>
                <a:lnTo>
                  <a:pt x="41827" y="19014"/>
                </a:lnTo>
                <a:lnTo>
                  <a:pt x="16883" y="19003"/>
                </a:lnTo>
                <a:lnTo>
                  <a:pt x="24408" y="14240"/>
                </a:lnTo>
                <a:close/>
                <a:moveTo>
                  <a:pt x="75736" y="14240"/>
                </a:moveTo>
                <a:lnTo>
                  <a:pt x="71438" y="19038"/>
                </a:lnTo>
                <a:lnTo>
                  <a:pt x="44446" y="19014"/>
                </a:lnTo>
                <a:lnTo>
                  <a:pt x="50316" y="14240"/>
                </a:lnTo>
                <a:close/>
                <a:moveTo>
                  <a:pt x="100501" y="14240"/>
                </a:moveTo>
                <a:lnTo>
                  <a:pt x="97929" y="19062"/>
                </a:lnTo>
                <a:lnTo>
                  <a:pt x="73735" y="19038"/>
                </a:lnTo>
                <a:lnTo>
                  <a:pt x="78010" y="14240"/>
                </a:lnTo>
                <a:close/>
                <a:moveTo>
                  <a:pt x="126790" y="14240"/>
                </a:moveTo>
                <a:lnTo>
                  <a:pt x="125956" y="19086"/>
                </a:lnTo>
                <a:lnTo>
                  <a:pt x="99953" y="19062"/>
                </a:lnTo>
                <a:lnTo>
                  <a:pt x="102549" y="14240"/>
                </a:lnTo>
                <a:close/>
                <a:moveTo>
                  <a:pt x="157079" y="14216"/>
                </a:moveTo>
                <a:lnTo>
                  <a:pt x="157913" y="19098"/>
                </a:lnTo>
                <a:lnTo>
                  <a:pt x="127826" y="19086"/>
                </a:lnTo>
                <a:lnTo>
                  <a:pt x="128659" y="14216"/>
                </a:lnTo>
                <a:close/>
                <a:moveTo>
                  <a:pt x="183213" y="14216"/>
                </a:moveTo>
                <a:lnTo>
                  <a:pt x="183213" y="14240"/>
                </a:lnTo>
                <a:lnTo>
                  <a:pt x="185845" y="19145"/>
                </a:lnTo>
                <a:lnTo>
                  <a:pt x="159794" y="19122"/>
                </a:lnTo>
                <a:lnTo>
                  <a:pt x="158960" y="14216"/>
                </a:lnTo>
                <a:close/>
                <a:moveTo>
                  <a:pt x="207716" y="14240"/>
                </a:moveTo>
                <a:lnTo>
                  <a:pt x="212122" y="19181"/>
                </a:lnTo>
                <a:lnTo>
                  <a:pt x="212122" y="19181"/>
                </a:lnTo>
                <a:lnTo>
                  <a:pt x="187869" y="19145"/>
                </a:lnTo>
                <a:lnTo>
                  <a:pt x="185226" y="14240"/>
                </a:lnTo>
                <a:close/>
                <a:moveTo>
                  <a:pt x="235434" y="14216"/>
                </a:moveTo>
                <a:lnTo>
                  <a:pt x="241518" y="19181"/>
                </a:lnTo>
                <a:lnTo>
                  <a:pt x="214420" y="19157"/>
                </a:lnTo>
                <a:lnTo>
                  <a:pt x="210014" y="14216"/>
                </a:lnTo>
                <a:close/>
                <a:moveTo>
                  <a:pt x="261342" y="14240"/>
                </a:moveTo>
                <a:lnTo>
                  <a:pt x="269236" y="19217"/>
                </a:lnTo>
                <a:lnTo>
                  <a:pt x="244150" y="19193"/>
                </a:lnTo>
                <a:lnTo>
                  <a:pt x="238054" y="14240"/>
                </a:lnTo>
                <a:close/>
                <a:moveTo>
                  <a:pt x="72402" y="20527"/>
                </a:moveTo>
                <a:lnTo>
                  <a:pt x="97131" y="20562"/>
                </a:lnTo>
                <a:lnTo>
                  <a:pt x="94405" y="25622"/>
                </a:lnTo>
                <a:lnTo>
                  <a:pt x="67866" y="25622"/>
                </a:lnTo>
                <a:lnTo>
                  <a:pt x="72402" y="20527"/>
                </a:lnTo>
                <a:close/>
                <a:moveTo>
                  <a:pt x="160068" y="20622"/>
                </a:moveTo>
                <a:lnTo>
                  <a:pt x="186642" y="20634"/>
                </a:lnTo>
                <a:lnTo>
                  <a:pt x="189321" y="25622"/>
                </a:lnTo>
                <a:lnTo>
                  <a:pt x="160925" y="25622"/>
                </a:lnTo>
                <a:lnTo>
                  <a:pt x="160068" y="20622"/>
                </a:lnTo>
                <a:close/>
                <a:moveTo>
                  <a:pt x="188666" y="20634"/>
                </a:moveTo>
                <a:lnTo>
                  <a:pt x="213467" y="20669"/>
                </a:lnTo>
                <a:lnTo>
                  <a:pt x="217884" y="25622"/>
                </a:lnTo>
                <a:lnTo>
                  <a:pt x="191345" y="25622"/>
                </a:lnTo>
                <a:lnTo>
                  <a:pt x="188666" y="20634"/>
                </a:lnTo>
                <a:close/>
                <a:moveTo>
                  <a:pt x="245983" y="20693"/>
                </a:moveTo>
                <a:lnTo>
                  <a:pt x="271593" y="20705"/>
                </a:lnTo>
                <a:lnTo>
                  <a:pt x="279356" y="25622"/>
                </a:lnTo>
                <a:lnTo>
                  <a:pt x="252043" y="25622"/>
                </a:lnTo>
                <a:lnTo>
                  <a:pt x="245983" y="20693"/>
                </a:lnTo>
                <a:close/>
                <a:moveTo>
                  <a:pt x="14514" y="20491"/>
                </a:moveTo>
                <a:lnTo>
                  <a:pt x="39993" y="20515"/>
                </a:lnTo>
                <a:lnTo>
                  <a:pt x="33707" y="25634"/>
                </a:lnTo>
                <a:lnTo>
                  <a:pt x="6406" y="25634"/>
                </a:lnTo>
                <a:lnTo>
                  <a:pt x="6406" y="25622"/>
                </a:lnTo>
                <a:lnTo>
                  <a:pt x="14514" y="20491"/>
                </a:lnTo>
                <a:close/>
                <a:moveTo>
                  <a:pt x="42601" y="20515"/>
                </a:moveTo>
                <a:lnTo>
                  <a:pt x="70116" y="20550"/>
                </a:lnTo>
                <a:lnTo>
                  <a:pt x="65580" y="25634"/>
                </a:lnTo>
                <a:lnTo>
                  <a:pt x="36314" y="25634"/>
                </a:lnTo>
                <a:lnTo>
                  <a:pt x="42601" y="20515"/>
                </a:lnTo>
                <a:close/>
                <a:moveTo>
                  <a:pt x="99155" y="20562"/>
                </a:moveTo>
                <a:lnTo>
                  <a:pt x="125706" y="20586"/>
                </a:lnTo>
                <a:lnTo>
                  <a:pt x="124837" y="25634"/>
                </a:lnTo>
                <a:lnTo>
                  <a:pt x="96429" y="25634"/>
                </a:lnTo>
                <a:lnTo>
                  <a:pt x="99155" y="20562"/>
                </a:lnTo>
                <a:close/>
                <a:moveTo>
                  <a:pt x="127575" y="20610"/>
                </a:moveTo>
                <a:lnTo>
                  <a:pt x="158175" y="20622"/>
                </a:lnTo>
                <a:lnTo>
                  <a:pt x="159032" y="25634"/>
                </a:lnTo>
                <a:lnTo>
                  <a:pt x="126718" y="25634"/>
                </a:lnTo>
                <a:lnTo>
                  <a:pt x="127575" y="20610"/>
                </a:lnTo>
                <a:close/>
                <a:moveTo>
                  <a:pt x="215753" y="20669"/>
                </a:moveTo>
                <a:lnTo>
                  <a:pt x="243364" y="20693"/>
                </a:lnTo>
                <a:lnTo>
                  <a:pt x="249424" y="25634"/>
                </a:lnTo>
                <a:lnTo>
                  <a:pt x="220182" y="25634"/>
                </a:lnTo>
                <a:lnTo>
                  <a:pt x="215753" y="20669"/>
                </a:lnTo>
                <a:close/>
                <a:moveTo>
                  <a:pt x="64234" y="27123"/>
                </a:moveTo>
                <a:lnTo>
                  <a:pt x="59067" y="32909"/>
                </a:lnTo>
                <a:lnTo>
                  <a:pt x="27372" y="32909"/>
                </a:lnTo>
                <a:lnTo>
                  <a:pt x="34481" y="27123"/>
                </a:lnTo>
                <a:close/>
                <a:moveTo>
                  <a:pt x="93595" y="27123"/>
                </a:moveTo>
                <a:lnTo>
                  <a:pt x="90488" y="32909"/>
                </a:lnTo>
                <a:lnTo>
                  <a:pt x="61365" y="32909"/>
                </a:lnTo>
                <a:lnTo>
                  <a:pt x="66532" y="27123"/>
                </a:lnTo>
                <a:close/>
                <a:moveTo>
                  <a:pt x="124575" y="27123"/>
                </a:moveTo>
                <a:lnTo>
                  <a:pt x="123575" y="32909"/>
                </a:lnTo>
                <a:lnTo>
                  <a:pt x="92512" y="32909"/>
                </a:lnTo>
                <a:lnTo>
                  <a:pt x="95619" y="27123"/>
                </a:lnTo>
                <a:close/>
                <a:moveTo>
                  <a:pt x="159306" y="27123"/>
                </a:moveTo>
                <a:lnTo>
                  <a:pt x="160306" y="32909"/>
                </a:lnTo>
                <a:lnTo>
                  <a:pt x="125444" y="32909"/>
                </a:lnTo>
                <a:lnTo>
                  <a:pt x="126444" y="27123"/>
                </a:lnTo>
                <a:close/>
                <a:moveTo>
                  <a:pt x="190131" y="27123"/>
                </a:moveTo>
                <a:lnTo>
                  <a:pt x="193238" y="32909"/>
                </a:lnTo>
                <a:lnTo>
                  <a:pt x="162175" y="32909"/>
                </a:lnTo>
                <a:lnTo>
                  <a:pt x="161187" y="27123"/>
                </a:lnTo>
                <a:close/>
                <a:moveTo>
                  <a:pt x="219230" y="27123"/>
                </a:moveTo>
                <a:lnTo>
                  <a:pt x="224385" y="32909"/>
                </a:lnTo>
                <a:lnTo>
                  <a:pt x="195263" y="32909"/>
                </a:lnTo>
                <a:lnTo>
                  <a:pt x="192155" y="27123"/>
                </a:lnTo>
                <a:close/>
                <a:moveTo>
                  <a:pt x="251270" y="27123"/>
                </a:moveTo>
                <a:lnTo>
                  <a:pt x="258378" y="32909"/>
                </a:lnTo>
                <a:lnTo>
                  <a:pt x="226683" y="32909"/>
                </a:lnTo>
                <a:lnTo>
                  <a:pt x="221516" y="27123"/>
                </a:lnTo>
                <a:close/>
                <a:moveTo>
                  <a:pt x="57733" y="34421"/>
                </a:moveTo>
                <a:lnTo>
                  <a:pt x="49959" y="43136"/>
                </a:lnTo>
                <a:lnTo>
                  <a:pt x="14823" y="43136"/>
                </a:lnTo>
                <a:lnTo>
                  <a:pt x="25527" y="34421"/>
                </a:lnTo>
                <a:close/>
                <a:moveTo>
                  <a:pt x="89690" y="34421"/>
                </a:moveTo>
                <a:lnTo>
                  <a:pt x="85011" y="43136"/>
                </a:lnTo>
                <a:lnTo>
                  <a:pt x="52245" y="43136"/>
                </a:lnTo>
                <a:lnTo>
                  <a:pt x="60008" y="34421"/>
                </a:lnTo>
                <a:close/>
                <a:moveTo>
                  <a:pt x="123325" y="34421"/>
                </a:moveTo>
                <a:lnTo>
                  <a:pt x="121813" y="43136"/>
                </a:lnTo>
                <a:lnTo>
                  <a:pt x="87035" y="43136"/>
                </a:lnTo>
                <a:lnTo>
                  <a:pt x="91714" y="34421"/>
                </a:lnTo>
                <a:close/>
                <a:moveTo>
                  <a:pt x="160556" y="34421"/>
                </a:moveTo>
                <a:lnTo>
                  <a:pt x="162056" y="43136"/>
                </a:lnTo>
                <a:lnTo>
                  <a:pt x="123694" y="43136"/>
                </a:lnTo>
                <a:lnTo>
                  <a:pt x="125194" y="34421"/>
                </a:lnTo>
                <a:close/>
                <a:moveTo>
                  <a:pt x="194048" y="34421"/>
                </a:moveTo>
                <a:lnTo>
                  <a:pt x="198715" y="43136"/>
                </a:lnTo>
                <a:lnTo>
                  <a:pt x="163937" y="43136"/>
                </a:lnTo>
                <a:lnTo>
                  <a:pt x="162437" y="34421"/>
                </a:lnTo>
                <a:close/>
                <a:moveTo>
                  <a:pt x="225731" y="34421"/>
                </a:moveTo>
                <a:lnTo>
                  <a:pt x="233493" y="43136"/>
                </a:lnTo>
                <a:lnTo>
                  <a:pt x="200739" y="43136"/>
                </a:lnTo>
                <a:lnTo>
                  <a:pt x="196072" y="34421"/>
                </a:lnTo>
                <a:close/>
                <a:moveTo>
                  <a:pt x="260223" y="34421"/>
                </a:moveTo>
                <a:lnTo>
                  <a:pt x="270927" y="43136"/>
                </a:lnTo>
                <a:lnTo>
                  <a:pt x="235791" y="43136"/>
                </a:lnTo>
                <a:lnTo>
                  <a:pt x="228017" y="34421"/>
                </a:lnTo>
                <a:close/>
                <a:moveTo>
                  <a:pt x="84201" y="44637"/>
                </a:moveTo>
                <a:lnTo>
                  <a:pt x="78403" y="55447"/>
                </a:lnTo>
                <a:lnTo>
                  <a:pt x="41267" y="55447"/>
                </a:lnTo>
                <a:lnTo>
                  <a:pt x="50911" y="44637"/>
                </a:lnTo>
                <a:close/>
                <a:moveTo>
                  <a:pt x="121563" y="44637"/>
                </a:moveTo>
                <a:lnTo>
                  <a:pt x="119705" y="55447"/>
                </a:lnTo>
                <a:lnTo>
                  <a:pt x="80427" y="55447"/>
                </a:lnTo>
                <a:lnTo>
                  <a:pt x="86237" y="44637"/>
                </a:lnTo>
                <a:close/>
                <a:moveTo>
                  <a:pt x="162330" y="44637"/>
                </a:moveTo>
                <a:lnTo>
                  <a:pt x="164187" y="55447"/>
                </a:lnTo>
                <a:lnTo>
                  <a:pt x="121575" y="55447"/>
                </a:lnTo>
                <a:lnTo>
                  <a:pt x="123444" y="44637"/>
                </a:lnTo>
                <a:close/>
                <a:moveTo>
                  <a:pt x="199525" y="44637"/>
                </a:moveTo>
                <a:lnTo>
                  <a:pt x="205323" y="55447"/>
                </a:lnTo>
                <a:lnTo>
                  <a:pt x="166045" y="55447"/>
                </a:lnTo>
                <a:lnTo>
                  <a:pt x="164187" y="44637"/>
                </a:lnTo>
                <a:close/>
                <a:moveTo>
                  <a:pt x="234839" y="44637"/>
                </a:moveTo>
                <a:lnTo>
                  <a:pt x="244483" y="55447"/>
                </a:lnTo>
                <a:lnTo>
                  <a:pt x="207347" y="55447"/>
                </a:lnTo>
                <a:lnTo>
                  <a:pt x="201549" y="44637"/>
                </a:lnTo>
                <a:close/>
                <a:moveTo>
                  <a:pt x="22027" y="0"/>
                </a:moveTo>
                <a:lnTo>
                  <a:pt x="0" y="11335"/>
                </a:lnTo>
                <a:lnTo>
                  <a:pt x="0" y="14240"/>
                </a:lnTo>
                <a:lnTo>
                  <a:pt x="21384" y="14240"/>
                </a:lnTo>
                <a:lnTo>
                  <a:pt x="13871" y="19003"/>
                </a:lnTo>
                <a:lnTo>
                  <a:pt x="0" y="18979"/>
                </a:lnTo>
                <a:lnTo>
                  <a:pt x="0" y="20491"/>
                </a:lnTo>
                <a:lnTo>
                  <a:pt x="11501" y="20503"/>
                </a:lnTo>
                <a:lnTo>
                  <a:pt x="3381" y="25634"/>
                </a:lnTo>
                <a:lnTo>
                  <a:pt x="0" y="25634"/>
                </a:lnTo>
                <a:lnTo>
                  <a:pt x="0" y="27134"/>
                </a:lnTo>
                <a:lnTo>
                  <a:pt x="1012" y="27134"/>
                </a:lnTo>
                <a:lnTo>
                  <a:pt x="0" y="27765"/>
                </a:lnTo>
                <a:lnTo>
                  <a:pt x="0" y="29670"/>
                </a:lnTo>
                <a:lnTo>
                  <a:pt x="4036" y="27123"/>
                </a:lnTo>
                <a:lnTo>
                  <a:pt x="31861" y="27123"/>
                </a:lnTo>
                <a:lnTo>
                  <a:pt x="24753" y="32909"/>
                </a:lnTo>
                <a:lnTo>
                  <a:pt x="0" y="32909"/>
                </a:lnTo>
                <a:lnTo>
                  <a:pt x="0" y="34409"/>
                </a:lnTo>
                <a:lnTo>
                  <a:pt x="22908" y="34409"/>
                </a:lnTo>
                <a:lnTo>
                  <a:pt x="12204" y="43136"/>
                </a:lnTo>
                <a:lnTo>
                  <a:pt x="0" y="43136"/>
                </a:lnTo>
                <a:lnTo>
                  <a:pt x="0" y="44637"/>
                </a:lnTo>
                <a:lnTo>
                  <a:pt x="10358" y="44637"/>
                </a:lnTo>
                <a:lnTo>
                  <a:pt x="0" y="53066"/>
                </a:lnTo>
                <a:lnTo>
                  <a:pt x="0" y="55197"/>
                </a:lnTo>
                <a:lnTo>
                  <a:pt x="12978" y="44625"/>
                </a:lnTo>
                <a:lnTo>
                  <a:pt x="48625" y="44625"/>
                </a:lnTo>
                <a:lnTo>
                  <a:pt x="38981" y="55436"/>
                </a:lnTo>
                <a:lnTo>
                  <a:pt x="0" y="55436"/>
                </a:lnTo>
                <a:lnTo>
                  <a:pt x="0" y="56936"/>
                </a:lnTo>
                <a:lnTo>
                  <a:pt x="37636" y="56936"/>
                </a:lnTo>
                <a:lnTo>
                  <a:pt x="31004" y="64389"/>
                </a:lnTo>
                <a:lnTo>
                  <a:pt x="33290" y="64389"/>
                </a:lnTo>
                <a:lnTo>
                  <a:pt x="39934" y="56936"/>
                </a:lnTo>
                <a:lnTo>
                  <a:pt x="77605" y="56936"/>
                </a:lnTo>
                <a:lnTo>
                  <a:pt x="73593" y="64389"/>
                </a:lnTo>
                <a:lnTo>
                  <a:pt x="75617" y="64389"/>
                </a:lnTo>
                <a:lnTo>
                  <a:pt x="79629" y="56936"/>
                </a:lnTo>
                <a:lnTo>
                  <a:pt x="119432" y="56936"/>
                </a:lnTo>
                <a:lnTo>
                  <a:pt x="118158" y="64389"/>
                </a:lnTo>
                <a:lnTo>
                  <a:pt x="120027" y="64389"/>
                </a:lnTo>
                <a:lnTo>
                  <a:pt x="121313" y="56936"/>
                </a:lnTo>
                <a:lnTo>
                  <a:pt x="164425" y="56936"/>
                </a:lnTo>
                <a:lnTo>
                  <a:pt x="165699" y="64389"/>
                </a:lnTo>
                <a:lnTo>
                  <a:pt x="167580" y="64389"/>
                </a:lnTo>
                <a:lnTo>
                  <a:pt x="166295" y="56936"/>
                </a:lnTo>
                <a:lnTo>
                  <a:pt x="206133" y="56936"/>
                </a:lnTo>
                <a:lnTo>
                  <a:pt x="210133" y="64389"/>
                </a:lnTo>
                <a:lnTo>
                  <a:pt x="212157" y="64389"/>
                </a:lnTo>
                <a:lnTo>
                  <a:pt x="208157" y="56936"/>
                </a:lnTo>
                <a:lnTo>
                  <a:pt x="245805" y="56936"/>
                </a:lnTo>
                <a:lnTo>
                  <a:pt x="252436" y="64389"/>
                </a:lnTo>
                <a:lnTo>
                  <a:pt x="254734" y="64389"/>
                </a:lnTo>
                <a:lnTo>
                  <a:pt x="248102" y="56936"/>
                </a:lnTo>
                <a:lnTo>
                  <a:pt x="285750" y="56936"/>
                </a:lnTo>
                <a:lnTo>
                  <a:pt x="285750" y="55424"/>
                </a:lnTo>
                <a:lnTo>
                  <a:pt x="246769" y="55424"/>
                </a:lnTo>
                <a:lnTo>
                  <a:pt x="237125" y="44625"/>
                </a:lnTo>
                <a:lnTo>
                  <a:pt x="272772" y="44625"/>
                </a:lnTo>
                <a:lnTo>
                  <a:pt x="285750" y="55186"/>
                </a:lnTo>
                <a:lnTo>
                  <a:pt x="285750" y="53066"/>
                </a:lnTo>
                <a:lnTo>
                  <a:pt x="275392" y="44625"/>
                </a:lnTo>
                <a:lnTo>
                  <a:pt x="285750" y="44625"/>
                </a:lnTo>
                <a:lnTo>
                  <a:pt x="285750" y="43125"/>
                </a:lnTo>
                <a:lnTo>
                  <a:pt x="273546" y="43125"/>
                </a:lnTo>
                <a:lnTo>
                  <a:pt x="262842" y="34397"/>
                </a:lnTo>
                <a:lnTo>
                  <a:pt x="285750" y="34397"/>
                </a:lnTo>
                <a:lnTo>
                  <a:pt x="285750" y="32897"/>
                </a:lnTo>
                <a:lnTo>
                  <a:pt x="260997" y="32897"/>
                </a:lnTo>
                <a:lnTo>
                  <a:pt x="253889" y="27111"/>
                </a:lnTo>
                <a:lnTo>
                  <a:pt x="281714" y="27111"/>
                </a:lnTo>
                <a:lnTo>
                  <a:pt x="285738" y="29647"/>
                </a:lnTo>
                <a:lnTo>
                  <a:pt x="285738" y="27742"/>
                </a:lnTo>
                <a:lnTo>
                  <a:pt x="284726" y="27111"/>
                </a:lnTo>
                <a:lnTo>
                  <a:pt x="285738" y="27111"/>
                </a:lnTo>
                <a:lnTo>
                  <a:pt x="285738" y="25599"/>
                </a:lnTo>
                <a:lnTo>
                  <a:pt x="282357" y="25599"/>
                </a:lnTo>
                <a:lnTo>
                  <a:pt x="274606" y="20693"/>
                </a:lnTo>
                <a:lnTo>
                  <a:pt x="274606" y="20693"/>
                </a:lnTo>
                <a:lnTo>
                  <a:pt x="285738" y="20705"/>
                </a:lnTo>
                <a:lnTo>
                  <a:pt x="285738" y="19205"/>
                </a:lnTo>
                <a:lnTo>
                  <a:pt x="272225" y="19193"/>
                </a:lnTo>
                <a:lnTo>
                  <a:pt x="264331" y="14204"/>
                </a:lnTo>
                <a:lnTo>
                  <a:pt x="285750" y="14204"/>
                </a:lnTo>
                <a:lnTo>
                  <a:pt x="285750" y="11299"/>
                </a:lnTo>
                <a:lnTo>
                  <a:pt x="263950" y="119"/>
                </a:lnTo>
                <a:lnTo>
                  <a:pt x="263723" y="0"/>
                </a:lnTo>
                <a:close/>
              </a:path>
            </a:pathLst>
          </a:custGeom>
          <a:gradFill>
            <a:gsLst>
              <a:gs pos="0">
                <a:srgbClr val="E5E1CC">
                  <a:alpha val="0"/>
                </a:srgbClr>
              </a:gs>
              <a:gs pos="50000">
                <a:srgbClr val="9B1135">
                  <a:alpha val="58431"/>
                </a:srgbClr>
              </a:gs>
              <a:gs pos="100000">
                <a:schemeClr val="accent2"/>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1;p3"/>
          <p:cNvSpPr/>
          <p:nvPr/>
        </p:nvSpPr>
        <p:spPr>
          <a:xfrm>
            <a:off x="0" y="3705223"/>
            <a:ext cx="9144000" cy="1438312"/>
          </a:xfrm>
          <a:custGeom>
            <a:avLst/>
            <a:gdLst/>
            <a:ahLst/>
            <a:cxnLst/>
            <a:rect l="l" t="t" r="r" b="b"/>
            <a:pathLst>
              <a:path w="285750" h="64390" extrusionOk="0">
                <a:moveTo>
                  <a:pt x="41446" y="1536"/>
                </a:moveTo>
                <a:lnTo>
                  <a:pt x="39576" y="2727"/>
                </a:lnTo>
                <a:lnTo>
                  <a:pt x="20253" y="2727"/>
                </a:lnTo>
                <a:lnTo>
                  <a:pt x="22574" y="1536"/>
                </a:lnTo>
                <a:close/>
                <a:moveTo>
                  <a:pt x="63294" y="1536"/>
                </a:moveTo>
                <a:lnTo>
                  <a:pt x="61841" y="2727"/>
                </a:lnTo>
                <a:lnTo>
                  <a:pt x="42577" y="2727"/>
                </a:lnTo>
                <a:lnTo>
                  <a:pt x="44458" y="1536"/>
                </a:lnTo>
                <a:close/>
                <a:moveTo>
                  <a:pt x="87070" y="1536"/>
                </a:moveTo>
                <a:lnTo>
                  <a:pt x="85987" y="2727"/>
                </a:lnTo>
                <a:lnTo>
                  <a:pt x="64449" y="2727"/>
                </a:lnTo>
                <a:lnTo>
                  <a:pt x="65913" y="1536"/>
                </a:lnTo>
                <a:close/>
                <a:moveTo>
                  <a:pt x="107335" y="1536"/>
                </a:moveTo>
                <a:lnTo>
                  <a:pt x="106692" y="2727"/>
                </a:lnTo>
                <a:lnTo>
                  <a:pt x="88285" y="2727"/>
                </a:lnTo>
                <a:lnTo>
                  <a:pt x="89345" y="1536"/>
                </a:lnTo>
                <a:close/>
                <a:moveTo>
                  <a:pt x="128969" y="1536"/>
                </a:moveTo>
                <a:lnTo>
                  <a:pt x="128766" y="2727"/>
                </a:lnTo>
                <a:lnTo>
                  <a:pt x="108716" y="2727"/>
                </a:lnTo>
                <a:lnTo>
                  <a:pt x="109359" y="1536"/>
                </a:lnTo>
                <a:close/>
                <a:moveTo>
                  <a:pt x="154900" y="1536"/>
                </a:moveTo>
                <a:lnTo>
                  <a:pt x="155115" y="2727"/>
                </a:lnTo>
                <a:lnTo>
                  <a:pt x="130647" y="2727"/>
                </a:lnTo>
                <a:lnTo>
                  <a:pt x="130850" y="1536"/>
                </a:lnTo>
                <a:close/>
                <a:moveTo>
                  <a:pt x="176391" y="1536"/>
                </a:moveTo>
                <a:lnTo>
                  <a:pt x="177034" y="2727"/>
                </a:lnTo>
                <a:lnTo>
                  <a:pt x="156984" y="2727"/>
                </a:lnTo>
                <a:lnTo>
                  <a:pt x="156770" y="1536"/>
                </a:lnTo>
                <a:close/>
                <a:moveTo>
                  <a:pt x="196394" y="1536"/>
                </a:moveTo>
                <a:lnTo>
                  <a:pt x="197465" y="2727"/>
                </a:lnTo>
                <a:lnTo>
                  <a:pt x="179058" y="2727"/>
                </a:lnTo>
                <a:lnTo>
                  <a:pt x="178415" y="1536"/>
                </a:lnTo>
                <a:close/>
                <a:moveTo>
                  <a:pt x="219837" y="1536"/>
                </a:moveTo>
                <a:lnTo>
                  <a:pt x="221290" y="2727"/>
                </a:lnTo>
                <a:lnTo>
                  <a:pt x="199751" y="2727"/>
                </a:lnTo>
                <a:lnTo>
                  <a:pt x="198680" y="1536"/>
                </a:lnTo>
                <a:close/>
                <a:moveTo>
                  <a:pt x="241292" y="1536"/>
                </a:moveTo>
                <a:lnTo>
                  <a:pt x="243173" y="2727"/>
                </a:lnTo>
                <a:lnTo>
                  <a:pt x="223909" y="2727"/>
                </a:lnTo>
                <a:lnTo>
                  <a:pt x="222456" y="1536"/>
                </a:lnTo>
                <a:close/>
                <a:moveTo>
                  <a:pt x="263176" y="1536"/>
                </a:moveTo>
                <a:lnTo>
                  <a:pt x="265497" y="2727"/>
                </a:lnTo>
                <a:lnTo>
                  <a:pt x="246174" y="2727"/>
                </a:lnTo>
                <a:lnTo>
                  <a:pt x="244304" y="1536"/>
                </a:lnTo>
                <a:close/>
                <a:moveTo>
                  <a:pt x="37195" y="4215"/>
                </a:moveTo>
                <a:lnTo>
                  <a:pt x="31480" y="7834"/>
                </a:lnTo>
                <a:lnTo>
                  <a:pt x="10251" y="7834"/>
                </a:lnTo>
                <a:lnTo>
                  <a:pt x="17324" y="4215"/>
                </a:lnTo>
                <a:close/>
                <a:moveTo>
                  <a:pt x="128516" y="4215"/>
                </a:moveTo>
                <a:lnTo>
                  <a:pt x="127885" y="7834"/>
                </a:lnTo>
                <a:lnTo>
                  <a:pt x="105966" y="7834"/>
                </a:lnTo>
                <a:lnTo>
                  <a:pt x="107918" y="4215"/>
                </a:lnTo>
                <a:close/>
                <a:moveTo>
                  <a:pt x="155365" y="4215"/>
                </a:moveTo>
                <a:lnTo>
                  <a:pt x="155984" y="7834"/>
                </a:lnTo>
                <a:lnTo>
                  <a:pt x="129766" y="7834"/>
                </a:lnTo>
                <a:lnTo>
                  <a:pt x="130385" y="4215"/>
                </a:lnTo>
                <a:close/>
                <a:moveTo>
                  <a:pt x="59996" y="4239"/>
                </a:moveTo>
                <a:lnTo>
                  <a:pt x="55543" y="7846"/>
                </a:lnTo>
                <a:lnTo>
                  <a:pt x="34481" y="7846"/>
                </a:lnTo>
                <a:lnTo>
                  <a:pt x="40219" y="4239"/>
                </a:lnTo>
                <a:close/>
                <a:moveTo>
                  <a:pt x="84665" y="4239"/>
                </a:moveTo>
                <a:lnTo>
                  <a:pt x="81427" y="7846"/>
                </a:lnTo>
                <a:lnTo>
                  <a:pt x="58162" y="7846"/>
                </a:lnTo>
                <a:lnTo>
                  <a:pt x="62615" y="4239"/>
                </a:lnTo>
                <a:close/>
                <a:moveTo>
                  <a:pt x="105894" y="4239"/>
                </a:moveTo>
                <a:lnTo>
                  <a:pt x="103942" y="7846"/>
                </a:lnTo>
                <a:lnTo>
                  <a:pt x="83713" y="7846"/>
                </a:lnTo>
                <a:lnTo>
                  <a:pt x="86951" y="4239"/>
                </a:lnTo>
                <a:close/>
                <a:moveTo>
                  <a:pt x="177832" y="4239"/>
                </a:moveTo>
                <a:lnTo>
                  <a:pt x="179784" y="7846"/>
                </a:lnTo>
                <a:lnTo>
                  <a:pt x="157865" y="7846"/>
                </a:lnTo>
                <a:lnTo>
                  <a:pt x="157234" y="4239"/>
                </a:lnTo>
                <a:close/>
                <a:moveTo>
                  <a:pt x="198811" y="4239"/>
                </a:moveTo>
                <a:lnTo>
                  <a:pt x="202037" y="7846"/>
                </a:lnTo>
                <a:lnTo>
                  <a:pt x="181808" y="7846"/>
                </a:lnTo>
                <a:lnTo>
                  <a:pt x="179868" y="4239"/>
                </a:lnTo>
                <a:close/>
                <a:moveTo>
                  <a:pt x="223135" y="4239"/>
                </a:moveTo>
                <a:lnTo>
                  <a:pt x="227588" y="7846"/>
                </a:lnTo>
                <a:lnTo>
                  <a:pt x="204323" y="7846"/>
                </a:lnTo>
                <a:lnTo>
                  <a:pt x="201097" y="4239"/>
                </a:lnTo>
                <a:close/>
                <a:moveTo>
                  <a:pt x="245543" y="4239"/>
                </a:moveTo>
                <a:lnTo>
                  <a:pt x="251258" y="7846"/>
                </a:lnTo>
                <a:lnTo>
                  <a:pt x="230207" y="7846"/>
                </a:lnTo>
                <a:lnTo>
                  <a:pt x="225754" y="4239"/>
                </a:lnTo>
                <a:close/>
                <a:moveTo>
                  <a:pt x="268438" y="4239"/>
                </a:moveTo>
                <a:lnTo>
                  <a:pt x="275499" y="7846"/>
                </a:lnTo>
                <a:lnTo>
                  <a:pt x="254294" y="7846"/>
                </a:lnTo>
                <a:lnTo>
                  <a:pt x="248567" y="4239"/>
                </a:lnTo>
                <a:close/>
                <a:moveTo>
                  <a:pt x="7382" y="9323"/>
                </a:moveTo>
                <a:lnTo>
                  <a:pt x="7382" y="9358"/>
                </a:lnTo>
                <a:lnTo>
                  <a:pt x="29099" y="9358"/>
                </a:lnTo>
                <a:lnTo>
                  <a:pt x="23753" y="12728"/>
                </a:lnTo>
                <a:lnTo>
                  <a:pt x="726" y="12728"/>
                </a:lnTo>
                <a:lnTo>
                  <a:pt x="7382" y="9323"/>
                </a:lnTo>
                <a:close/>
                <a:moveTo>
                  <a:pt x="53697" y="9358"/>
                </a:moveTo>
                <a:lnTo>
                  <a:pt x="49542" y="12728"/>
                </a:lnTo>
                <a:lnTo>
                  <a:pt x="26777" y="12728"/>
                </a:lnTo>
                <a:lnTo>
                  <a:pt x="32123" y="9358"/>
                </a:lnTo>
                <a:close/>
                <a:moveTo>
                  <a:pt x="80081" y="9358"/>
                </a:moveTo>
                <a:lnTo>
                  <a:pt x="77081" y="12728"/>
                </a:lnTo>
                <a:lnTo>
                  <a:pt x="52161" y="12728"/>
                </a:lnTo>
                <a:lnTo>
                  <a:pt x="56317" y="9358"/>
                </a:lnTo>
                <a:close/>
                <a:moveTo>
                  <a:pt x="103144" y="9358"/>
                </a:moveTo>
                <a:lnTo>
                  <a:pt x="101322" y="12728"/>
                </a:lnTo>
                <a:lnTo>
                  <a:pt x="79367" y="12728"/>
                </a:lnTo>
                <a:lnTo>
                  <a:pt x="82391" y="9358"/>
                </a:lnTo>
                <a:close/>
                <a:moveTo>
                  <a:pt x="127623" y="9358"/>
                </a:moveTo>
                <a:lnTo>
                  <a:pt x="127040" y="12728"/>
                </a:lnTo>
                <a:lnTo>
                  <a:pt x="103346" y="12728"/>
                </a:lnTo>
                <a:lnTo>
                  <a:pt x="105168" y="9358"/>
                </a:lnTo>
                <a:close/>
                <a:moveTo>
                  <a:pt x="156246" y="9358"/>
                </a:moveTo>
                <a:lnTo>
                  <a:pt x="156817" y="12728"/>
                </a:lnTo>
                <a:lnTo>
                  <a:pt x="128933" y="12728"/>
                </a:lnTo>
                <a:lnTo>
                  <a:pt x="129516" y="9358"/>
                </a:lnTo>
                <a:close/>
                <a:moveTo>
                  <a:pt x="180594" y="9358"/>
                </a:moveTo>
                <a:lnTo>
                  <a:pt x="182404" y="12728"/>
                </a:lnTo>
                <a:lnTo>
                  <a:pt x="158710" y="12728"/>
                </a:lnTo>
                <a:lnTo>
                  <a:pt x="158127" y="9358"/>
                </a:lnTo>
                <a:close/>
                <a:moveTo>
                  <a:pt x="203359" y="9358"/>
                </a:moveTo>
                <a:lnTo>
                  <a:pt x="206383" y="12728"/>
                </a:lnTo>
                <a:lnTo>
                  <a:pt x="184416" y="12728"/>
                </a:lnTo>
                <a:lnTo>
                  <a:pt x="182594" y="9358"/>
                </a:lnTo>
                <a:close/>
                <a:moveTo>
                  <a:pt x="229433" y="9358"/>
                </a:moveTo>
                <a:lnTo>
                  <a:pt x="233589" y="12728"/>
                </a:lnTo>
                <a:lnTo>
                  <a:pt x="208669" y="12728"/>
                </a:lnTo>
                <a:lnTo>
                  <a:pt x="205669" y="9358"/>
                </a:lnTo>
                <a:close/>
                <a:moveTo>
                  <a:pt x="253639" y="9358"/>
                </a:moveTo>
                <a:lnTo>
                  <a:pt x="258973" y="12728"/>
                </a:lnTo>
                <a:lnTo>
                  <a:pt x="236208" y="12728"/>
                </a:lnTo>
                <a:lnTo>
                  <a:pt x="232053" y="9358"/>
                </a:lnTo>
                <a:close/>
                <a:moveTo>
                  <a:pt x="278428" y="9358"/>
                </a:moveTo>
                <a:lnTo>
                  <a:pt x="285024" y="12728"/>
                </a:lnTo>
                <a:lnTo>
                  <a:pt x="261997" y="12728"/>
                </a:lnTo>
                <a:lnTo>
                  <a:pt x="256651" y="9358"/>
                </a:lnTo>
                <a:close/>
                <a:moveTo>
                  <a:pt x="47720" y="14240"/>
                </a:moveTo>
                <a:lnTo>
                  <a:pt x="41827" y="19014"/>
                </a:lnTo>
                <a:lnTo>
                  <a:pt x="16883" y="19003"/>
                </a:lnTo>
                <a:lnTo>
                  <a:pt x="24408" y="14240"/>
                </a:lnTo>
                <a:close/>
                <a:moveTo>
                  <a:pt x="75736" y="14240"/>
                </a:moveTo>
                <a:lnTo>
                  <a:pt x="71438" y="19038"/>
                </a:lnTo>
                <a:lnTo>
                  <a:pt x="44446" y="19014"/>
                </a:lnTo>
                <a:lnTo>
                  <a:pt x="50316" y="14240"/>
                </a:lnTo>
                <a:close/>
                <a:moveTo>
                  <a:pt x="100501" y="14240"/>
                </a:moveTo>
                <a:lnTo>
                  <a:pt x="97929" y="19062"/>
                </a:lnTo>
                <a:lnTo>
                  <a:pt x="73735" y="19038"/>
                </a:lnTo>
                <a:lnTo>
                  <a:pt x="78010" y="14240"/>
                </a:lnTo>
                <a:close/>
                <a:moveTo>
                  <a:pt x="126790" y="14240"/>
                </a:moveTo>
                <a:lnTo>
                  <a:pt x="125956" y="19086"/>
                </a:lnTo>
                <a:lnTo>
                  <a:pt x="99953" y="19062"/>
                </a:lnTo>
                <a:lnTo>
                  <a:pt x="102549" y="14240"/>
                </a:lnTo>
                <a:close/>
                <a:moveTo>
                  <a:pt x="157079" y="14216"/>
                </a:moveTo>
                <a:lnTo>
                  <a:pt x="157913" y="19098"/>
                </a:lnTo>
                <a:lnTo>
                  <a:pt x="127826" y="19086"/>
                </a:lnTo>
                <a:lnTo>
                  <a:pt x="128659" y="14216"/>
                </a:lnTo>
                <a:close/>
                <a:moveTo>
                  <a:pt x="183213" y="14216"/>
                </a:moveTo>
                <a:lnTo>
                  <a:pt x="183213" y="14240"/>
                </a:lnTo>
                <a:lnTo>
                  <a:pt x="185845" y="19145"/>
                </a:lnTo>
                <a:lnTo>
                  <a:pt x="159794" y="19122"/>
                </a:lnTo>
                <a:lnTo>
                  <a:pt x="158960" y="14216"/>
                </a:lnTo>
                <a:close/>
                <a:moveTo>
                  <a:pt x="207716" y="14240"/>
                </a:moveTo>
                <a:lnTo>
                  <a:pt x="212122" y="19181"/>
                </a:lnTo>
                <a:lnTo>
                  <a:pt x="212122" y="19181"/>
                </a:lnTo>
                <a:lnTo>
                  <a:pt x="187869" y="19145"/>
                </a:lnTo>
                <a:lnTo>
                  <a:pt x="185226" y="14240"/>
                </a:lnTo>
                <a:close/>
                <a:moveTo>
                  <a:pt x="235434" y="14216"/>
                </a:moveTo>
                <a:lnTo>
                  <a:pt x="241518" y="19181"/>
                </a:lnTo>
                <a:lnTo>
                  <a:pt x="214420" y="19157"/>
                </a:lnTo>
                <a:lnTo>
                  <a:pt x="210014" y="14216"/>
                </a:lnTo>
                <a:close/>
                <a:moveTo>
                  <a:pt x="261342" y="14240"/>
                </a:moveTo>
                <a:lnTo>
                  <a:pt x="269236" y="19217"/>
                </a:lnTo>
                <a:lnTo>
                  <a:pt x="244150" y="19193"/>
                </a:lnTo>
                <a:lnTo>
                  <a:pt x="238054" y="14240"/>
                </a:lnTo>
                <a:close/>
                <a:moveTo>
                  <a:pt x="72402" y="20527"/>
                </a:moveTo>
                <a:lnTo>
                  <a:pt x="97131" y="20562"/>
                </a:lnTo>
                <a:lnTo>
                  <a:pt x="94405" y="25622"/>
                </a:lnTo>
                <a:lnTo>
                  <a:pt x="67866" y="25622"/>
                </a:lnTo>
                <a:lnTo>
                  <a:pt x="72402" y="20527"/>
                </a:lnTo>
                <a:close/>
                <a:moveTo>
                  <a:pt x="160068" y="20622"/>
                </a:moveTo>
                <a:lnTo>
                  <a:pt x="186642" y="20634"/>
                </a:lnTo>
                <a:lnTo>
                  <a:pt x="189321" y="25622"/>
                </a:lnTo>
                <a:lnTo>
                  <a:pt x="160925" y="25622"/>
                </a:lnTo>
                <a:lnTo>
                  <a:pt x="160068" y="20622"/>
                </a:lnTo>
                <a:close/>
                <a:moveTo>
                  <a:pt x="188666" y="20634"/>
                </a:moveTo>
                <a:lnTo>
                  <a:pt x="213467" y="20669"/>
                </a:lnTo>
                <a:lnTo>
                  <a:pt x="217884" y="25622"/>
                </a:lnTo>
                <a:lnTo>
                  <a:pt x="191345" y="25622"/>
                </a:lnTo>
                <a:lnTo>
                  <a:pt x="188666" y="20634"/>
                </a:lnTo>
                <a:close/>
                <a:moveTo>
                  <a:pt x="245983" y="20693"/>
                </a:moveTo>
                <a:lnTo>
                  <a:pt x="271593" y="20705"/>
                </a:lnTo>
                <a:lnTo>
                  <a:pt x="279356" y="25622"/>
                </a:lnTo>
                <a:lnTo>
                  <a:pt x="252043" y="25622"/>
                </a:lnTo>
                <a:lnTo>
                  <a:pt x="245983" y="20693"/>
                </a:lnTo>
                <a:close/>
                <a:moveTo>
                  <a:pt x="14514" y="20491"/>
                </a:moveTo>
                <a:lnTo>
                  <a:pt x="39993" y="20515"/>
                </a:lnTo>
                <a:lnTo>
                  <a:pt x="33707" y="25634"/>
                </a:lnTo>
                <a:lnTo>
                  <a:pt x="6406" y="25634"/>
                </a:lnTo>
                <a:lnTo>
                  <a:pt x="6406" y="25622"/>
                </a:lnTo>
                <a:lnTo>
                  <a:pt x="14514" y="20491"/>
                </a:lnTo>
                <a:close/>
                <a:moveTo>
                  <a:pt x="42601" y="20515"/>
                </a:moveTo>
                <a:lnTo>
                  <a:pt x="70116" y="20550"/>
                </a:lnTo>
                <a:lnTo>
                  <a:pt x="65580" y="25634"/>
                </a:lnTo>
                <a:lnTo>
                  <a:pt x="36314" y="25634"/>
                </a:lnTo>
                <a:lnTo>
                  <a:pt x="42601" y="20515"/>
                </a:lnTo>
                <a:close/>
                <a:moveTo>
                  <a:pt x="99155" y="20562"/>
                </a:moveTo>
                <a:lnTo>
                  <a:pt x="125706" y="20586"/>
                </a:lnTo>
                <a:lnTo>
                  <a:pt x="124837" y="25634"/>
                </a:lnTo>
                <a:lnTo>
                  <a:pt x="96429" y="25634"/>
                </a:lnTo>
                <a:lnTo>
                  <a:pt x="99155" y="20562"/>
                </a:lnTo>
                <a:close/>
                <a:moveTo>
                  <a:pt x="127575" y="20610"/>
                </a:moveTo>
                <a:lnTo>
                  <a:pt x="158175" y="20622"/>
                </a:lnTo>
                <a:lnTo>
                  <a:pt x="159032" y="25634"/>
                </a:lnTo>
                <a:lnTo>
                  <a:pt x="126718" y="25634"/>
                </a:lnTo>
                <a:lnTo>
                  <a:pt x="127575" y="20610"/>
                </a:lnTo>
                <a:close/>
                <a:moveTo>
                  <a:pt x="215753" y="20669"/>
                </a:moveTo>
                <a:lnTo>
                  <a:pt x="243364" y="20693"/>
                </a:lnTo>
                <a:lnTo>
                  <a:pt x="249424" y="25634"/>
                </a:lnTo>
                <a:lnTo>
                  <a:pt x="220182" y="25634"/>
                </a:lnTo>
                <a:lnTo>
                  <a:pt x="215753" y="20669"/>
                </a:lnTo>
                <a:close/>
                <a:moveTo>
                  <a:pt x="64234" y="27123"/>
                </a:moveTo>
                <a:lnTo>
                  <a:pt x="59067" y="32909"/>
                </a:lnTo>
                <a:lnTo>
                  <a:pt x="27372" y="32909"/>
                </a:lnTo>
                <a:lnTo>
                  <a:pt x="34481" y="27123"/>
                </a:lnTo>
                <a:close/>
                <a:moveTo>
                  <a:pt x="93595" y="27123"/>
                </a:moveTo>
                <a:lnTo>
                  <a:pt x="90488" y="32909"/>
                </a:lnTo>
                <a:lnTo>
                  <a:pt x="61365" y="32909"/>
                </a:lnTo>
                <a:lnTo>
                  <a:pt x="66532" y="27123"/>
                </a:lnTo>
                <a:close/>
                <a:moveTo>
                  <a:pt x="124575" y="27123"/>
                </a:moveTo>
                <a:lnTo>
                  <a:pt x="123575" y="32909"/>
                </a:lnTo>
                <a:lnTo>
                  <a:pt x="92512" y="32909"/>
                </a:lnTo>
                <a:lnTo>
                  <a:pt x="95619" y="27123"/>
                </a:lnTo>
                <a:close/>
                <a:moveTo>
                  <a:pt x="159306" y="27123"/>
                </a:moveTo>
                <a:lnTo>
                  <a:pt x="160306" y="32909"/>
                </a:lnTo>
                <a:lnTo>
                  <a:pt x="125444" y="32909"/>
                </a:lnTo>
                <a:lnTo>
                  <a:pt x="126444" y="27123"/>
                </a:lnTo>
                <a:close/>
                <a:moveTo>
                  <a:pt x="190131" y="27123"/>
                </a:moveTo>
                <a:lnTo>
                  <a:pt x="193238" y="32909"/>
                </a:lnTo>
                <a:lnTo>
                  <a:pt x="162175" y="32909"/>
                </a:lnTo>
                <a:lnTo>
                  <a:pt x="161187" y="27123"/>
                </a:lnTo>
                <a:close/>
                <a:moveTo>
                  <a:pt x="219230" y="27123"/>
                </a:moveTo>
                <a:lnTo>
                  <a:pt x="224385" y="32909"/>
                </a:lnTo>
                <a:lnTo>
                  <a:pt x="195263" y="32909"/>
                </a:lnTo>
                <a:lnTo>
                  <a:pt x="192155" y="27123"/>
                </a:lnTo>
                <a:close/>
                <a:moveTo>
                  <a:pt x="251270" y="27123"/>
                </a:moveTo>
                <a:lnTo>
                  <a:pt x="258378" y="32909"/>
                </a:lnTo>
                <a:lnTo>
                  <a:pt x="226683" y="32909"/>
                </a:lnTo>
                <a:lnTo>
                  <a:pt x="221516" y="27123"/>
                </a:lnTo>
                <a:close/>
                <a:moveTo>
                  <a:pt x="57733" y="34421"/>
                </a:moveTo>
                <a:lnTo>
                  <a:pt x="49959" y="43136"/>
                </a:lnTo>
                <a:lnTo>
                  <a:pt x="14823" y="43136"/>
                </a:lnTo>
                <a:lnTo>
                  <a:pt x="25527" y="34421"/>
                </a:lnTo>
                <a:close/>
                <a:moveTo>
                  <a:pt x="89690" y="34421"/>
                </a:moveTo>
                <a:lnTo>
                  <a:pt x="85011" y="43136"/>
                </a:lnTo>
                <a:lnTo>
                  <a:pt x="52245" y="43136"/>
                </a:lnTo>
                <a:lnTo>
                  <a:pt x="60008" y="34421"/>
                </a:lnTo>
                <a:close/>
                <a:moveTo>
                  <a:pt x="123325" y="34421"/>
                </a:moveTo>
                <a:lnTo>
                  <a:pt x="121813" y="43136"/>
                </a:lnTo>
                <a:lnTo>
                  <a:pt x="87035" y="43136"/>
                </a:lnTo>
                <a:lnTo>
                  <a:pt x="91714" y="34421"/>
                </a:lnTo>
                <a:close/>
                <a:moveTo>
                  <a:pt x="160556" y="34421"/>
                </a:moveTo>
                <a:lnTo>
                  <a:pt x="162056" y="43136"/>
                </a:lnTo>
                <a:lnTo>
                  <a:pt x="123694" y="43136"/>
                </a:lnTo>
                <a:lnTo>
                  <a:pt x="125194" y="34421"/>
                </a:lnTo>
                <a:close/>
                <a:moveTo>
                  <a:pt x="194048" y="34421"/>
                </a:moveTo>
                <a:lnTo>
                  <a:pt x="198715" y="43136"/>
                </a:lnTo>
                <a:lnTo>
                  <a:pt x="163937" y="43136"/>
                </a:lnTo>
                <a:lnTo>
                  <a:pt x="162437" y="34421"/>
                </a:lnTo>
                <a:close/>
                <a:moveTo>
                  <a:pt x="225731" y="34421"/>
                </a:moveTo>
                <a:lnTo>
                  <a:pt x="233493" y="43136"/>
                </a:lnTo>
                <a:lnTo>
                  <a:pt x="200739" y="43136"/>
                </a:lnTo>
                <a:lnTo>
                  <a:pt x="196072" y="34421"/>
                </a:lnTo>
                <a:close/>
                <a:moveTo>
                  <a:pt x="260223" y="34421"/>
                </a:moveTo>
                <a:lnTo>
                  <a:pt x="270927" y="43136"/>
                </a:lnTo>
                <a:lnTo>
                  <a:pt x="235791" y="43136"/>
                </a:lnTo>
                <a:lnTo>
                  <a:pt x="228017" y="34421"/>
                </a:lnTo>
                <a:close/>
                <a:moveTo>
                  <a:pt x="84201" y="44637"/>
                </a:moveTo>
                <a:lnTo>
                  <a:pt x="78403" y="55447"/>
                </a:lnTo>
                <a:lnTo>
                  <a:pt x="41267" y="55447"/>
                </a:lnTo>
                <a:lnTo>
                  <a:pt x="50911" y="44637"/>
                </a:lnTo>
                <a:close/>
                <a:moveTo>
                  <a:pt x="121563" y="44637"/>
                </a:moveTo>
                <a:lnTo>
                  <a:pt x="119705" y="55447"/>
                </a:lnTo>
                <a:lnTo>
                  <a:pt x="80427" y="55447"/>
                </a:lnTo>
                <a:lnTo>
                  <a:pt x="86237" y="44637"/>
                </a:lnTo>
                <a:close/>
                <a:moveTo>
                  <a:pt x="162330" y="44637"/>
                </a:moveTo>
                <a:lnTo>
                  <a:pt x="164187" y="55447"/>
                </a:lnTo>
                <a:lnTo>
                  <a:pt x="121575" y="55447"/>
                </a:lnTo>
                <a:lnTo>
                  <a:pt x="123444" y="44637"/>
                </a:lnTo>
                <a:close/>
                <a:moveTo>
                  <a:pt x="199525" y="44637"/>
                </a:moveTo>
                <a:lnTo>
                  <a:pt x="205323" y="55447"/>
                </a:lnTo>
                <a:lnTo>
                  <a:pt x="166045" y="55447"/>
                </a:lnTo>
                <a:lnTo>
                  <a:pt x="164187" y="44637"/>
                </a:lnTo>
                <a:close/>
                <a:moveTo>
                  <a:pt x="234839" y="44637"/>
                </a:moveTo>
                <a:lnTo>
                  <a:pt x="244483" y="55447"/>
                </a:lnTo>
                <a:lnTo>
                  <a:pt x="207347" y="55447"/>
                </a:lnTo>
                <a:lnTo>
                  <a:pt x="201549" y="44637"/>
                </a:lnTo>
                <a:close/>
                <a:moveTo>
                  <a:pt x="22027" y="0"/>
                </a:moveTo>
                <a:lnTo>
                  <a:pt x="0" y="11335"/>
                </a:lnTo>
                <a:lnTo>
                  <a:pt x="0" y="14240"/>
                </a:lnTo>
                <a:lnTo>
                  <a:pt x="21384" y="14240"/>
                </a:lnTo>
                <a:lnTo>
                  <a:pt x="13871" y="19003"/>
                </a:lnTo>
                <a:lnTo>
                  <a:pt x="0" y="18979"/>
                </a:lnTo>
                <a:lnTo>
                  <a:pt x="0" y="20491"/>
                </a:lnTo>
                <a:lnTo>
                  <a:pt x="11501" y="20503"/>
                </a:lnTo>
                <a:lnTo>
                  <a:pt x="3381" y="25634"/>
                </a:lnTo>
                <a:lnTo>
                  <a:pt x="0" y="25634"/>
                </a:lnTo>
                <a:lnTo>
                  <a:pt x="0" y="27134"/>
                </a:lnTo>
                <a:lnTo>
                  <a:pt x="1012" y="27134"/>
                </a:lnTo>
                <a:lnTo>
                  <a:pt x="0" y="27765"/>
                </a:lnTo>
                <a:lnTo>
                  <a:pt x="0" y="29670"/>
                </a:lnTo>
                <a:lnTo>
                  <a:pt x="4036" y="27123"/>
                </a:lnTo>
                <a:lnTo>
                  <a:pt x="31861" y="27123"/>
                </a:lnTo>
                <a:lnTo>
                  <a:pt x="24753" y="32909"/>
                </a:lnTo>
                <a:lnTo>
                  <a:pt x="0" y="32909"/>
                </a:lnTo>
                <a:lnTo>
                  <a:pt x="0" y="34409"/>
                </a:lnTo>
                <a:lnTo>
                  <a:pt x="22908" y="34409"/>
                </a:lnTo>
                <a:lnTo>
                  <a:pt x="12204" y="43136"/>
                </a:lnTo>
                <a:lnTo>
                  <a:pt x="0" y="43136"/>
                </a:lnTo>
                <a:lnTo>
                  <a:pt x="0" y="44637"/>
                </a:lnTo>
                <a:lnTo>
                  <a:pt x="10358" y="44637"/>
                </a:lnTo>
                <a:lnTo>
                  <a:pt x="0" y="53066"/>
                </a:lnTo>
                <a:lnTo>
                  <a:pt x="0" y="55197"/>
                </a:lnTo>
                <a:lnTo>
                  <a:pt x="12978" y="44625"/>
                </a:lnTo>
                <a:lnTo>
                  <a:pt x="48625" y="44625"/>
                </a:lnTo>
                <a:lnTo>
                  <a:pt x="38981" y="55436"/>
                </a:lnTo>
                <a:lnTo>
                  <a:pt x="0" y="55436"/>
                </a:lnTo>
                <a:lnTo>
                  <a:pt x="0" y="56936"/>
                </a:lnTo>
                <a:lnTo>
                  <a:pt x="37636" y="56936"/>
                </a:lnTo>
                <a:lnTo>
                  <a:pt x="31004" y="64389"/>
                </a:lnTo>
                <a:lnTo>
                  <a:pt x="33290" y="64389"/>
                </a:lnTo>
                <a:lnTo>
                  <a:pt x="39934" y="56936"/>
                </a:lnTo>
                <a:lnTo>
                  <a:pt x="77605" y="56936"/>
                </a:lnTo>
                <a:lnTo>
                  <a:pt x="73593" y="64389"/>
                </a:lnTo>
                <a:lnTo>
                  <a:pt x="75617" y="64389"/>
                </a:lnTo>
                <a:lnTo>
                  <a:pt x="79629" y="56936"/>
                </a:lnTo>
                <a:lnTo>
                  <a:pt x="119432" y="56936"/>
                </a:lnTo>
                <a:lnTo>
                  <a:pt x="118158" y="64389"/>
                </a:lnTo>
                <a:lnTo>
                  <a:pt x="120027" y="64389"/>
                </a:lnTo>
                <a:lnTo>
                  <a:pt x="121313" y="56936"/>
                </a:lnTo>
                <a:lnTo>
                  <a:pt x="164425" y="56936"/>
                </a:lnTo>
                <a:lnTo>
                  <a:pt x="165699" y="64389"/>
                </a:lnTo>
                <a:lnTo>
                  <a:pt x="167580" y="64389"/>
                </a:lnTo>
                <a:lnTo>
                  <a:pt x="166295" y="56936"/>
                </a:lnTo>
                <a:lnTo>
                  <a:pt x="206133" y="56936"/>
                </a:lnTo>
                <a:lnTo>
                  <a:pt x="210133" y="64389"/>
                </a:lnTo>
                <a:lnTo>
                  <a:pt x="212157" y="64389"/>
                </a:lnTo>
                <a:lnTo>
                  <a:pt x="208157" y="56936"/>
                </a:lnTo>
                <a:lnTo>
                  <a:pt x="245805" y="56936"/>
                </a:lnTo>
                <a:lnTo>
                  <a:pt x="252436" y="64389"/>
                </a:lnTo>
                <a:lnTo>
                  <a:pt x="254734" y="64389"/>
                </a:lnTo>
                <a:lnTo>
                  <a:pt x="248102" y="56936"/>
                </a:lnTo>
                <a:lnTo>
                  <a:pt x="285750" y="56936"/>
                </a:lnTo>
                <a:lnTo>
                  <a:pt x="285750" y="55424"/>
                </a:lnTo>
                <a:lnTo>
                  <a:pt x="246769" y="55424"/>
                </a:lnTo>
                <a:lnTo>
                  <a:pt x="237125" y="44625"/>
                </a:lnTo>
                <a:lnTo>
                  <a:pt x="272772" y="44625"/>
                </a:lnTo>
                <a:lnTo>
                  <a:pt x="285750" y="55186"/>
                </a:lnTo>
                <a:lnTo>
                  <a:pt x="285750" y="53066"/>
                </a:lnTo>
                <a:lnTo>
                  <a:pt x="275392" y="44625"/>
                </a:lnTo>
                <a:lnTo>
                  <a:pt x="285750" y="44625"/>
                </a:lnTo>
                <a:lnTo>
                  <a:pt x="285750" y="43125"/>
                </a:lnTo>
                <a:lnTo>
                  <a:pt x="273546" y="43125"/>
                </a:lnTo>
                <a:lnTo>
                  <a:pt x="262842" y="34397"/>
                </a:lnTo>
                <a:lnTo>
                  <a:pt x="285750" y="34397"/>
                </a:lnTo>
                <a:lnTo>
                  <a:pt x="285750" y="32897"/>
                </a:lnTo>
                <a:lnTo>
                  <a:pt x="260997" y="32897"/>
                </a:lnTo>
                <a:lnTo>
                  <a:pt x="253889" y="27111"/>
                </a:lnTo>
                <a:lnTo>
                  <a:pt x="281714" y="27111"/>
                </a:lnTo>
                <a:lnTo>
                  <a:pt x="285738" y="29647"/>
                </a:lnTo>
                <a:lnTo>
                  <a:pt x="285738" y="27742"/>
                </a:lnTo>
                <a:lnTo>
                  <a:pt x="284726" y="27111"/>
                </a:lnTo>
                <a:lnTo>
                  <a:pt x="285738" y="27111"/>
                </a:lnTo>
                <a:lnTo>
                  <a:pt x="285738" y="25599"/>
                </a:lnTo>
                <a:lnTo>
                  <a:pt x="282357" y="25599"/>
                </a:lnTo>
                <a:lnTo>
                  <a:pt x="274606" y="20693"/>
                </a:lnTo>
                <a:lnTo>
                  <a:pt x="274606" y="20693"/>
                </a:lnTo>
                <a:lnTo>
                  <a:pt x="285738" y="20705"/>
                </a:lnTo>
                <a:lnTo>
                  <a:pt x="285738" y="19205"/>
                </a:lnTo>
                <a:lnTo>
                  <a:pt x="272225" y="19193"/>
                </a:lnTo>
                <a:lnTo>
                  <a:pt x="264331" y="14204"/>
                </a:lnTo>
                <a:lnTo>
                  <a:pt x="285750" y="14204"/>
                </a:lnTo>
                <a:lnTo>
                  <a:pt x="285750" y="11299"/>
                </a:lnTo>
                <a:lnTo>
                  <a:pt x="263950" y="119"/>
                </a:lnTo>
                <a:lnTo>
                  <a:pt x="263723" y="0"/>
                </a:lnTo>
                <a:close/>
              </a:path>
            </a:pathLst>
          </a:custGeom>
          <a:gradFill>
            <a:gsLst>
              <a:gs pos="0">
                <a:srgbClr val="E5E1CC">
                  <a:alpha val="0"/>
                </a:srgbClr>
              </a:gs>
              <a:gs pos="50000">
                <a:srgbClr val="9B1135">
                  <a:alpha val="58431"/>
                </a:srgbClr>
              </a:gs>
              <a:gs pos="100000">
                <a:schemeClr val="accent2"/>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2" name="Google Shape;52;p3"/>
          <p:cNvGrpSpPr/>
          <p:nvPr/>
        </p:nvGrpSpPr>
        <p:grpSpPr>
          <a:xfrm>
            <a:off x="75" y="1992750"/>
            <a:ext cx="9144000" cy="1158000"/>
            <a:chOff x="75" y="3985500"/>
            <a:chExt cx="9144000" cy="1158000"/>
          </a:xfrm>
        </p:grpSpPr>
        <p:sp>
          <p:nvSpPr>
            <p:cNvPr id="53" name="Google Shape;53;p3"/>
            <p:cNvSpPr/>
            <p:nvPr/>
          </p:nvSpPr>
          <p:spPr>
            <a:xfrm>
              <a:off x="75" y="3985500"/>
              <a:ext cx="9144000" cy="2922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4;p3"/>
            <p:cNvSpPr/>
            <p:nvPr/>
          </p:nvSpPr>
          <p:spPr>
            <a:xfrm>
              <a:off x="75" y="4272300"/>
              <a:ext cx="9144000" cy="292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5;p3"/>
            <p:cNvSpPr/>
            <p:nvPr/>
          </p:nvSpPr>
          <p:spPr>
            <a:xfrm>
              <a:off x="75" y="4561800"/>
              <a:ext cx="9144000" cy="29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6;p3"/>
            <p:cNvSpPr/>
            <p:nvPr/>
          </p:nvSpPr>
          <p:spPr>
            <a:xfrm>
              <a:off x="75" y="4851300"/>
              <a:ext cx="9144000" cy="2922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7" name="Google Shape;57;p3"/>
          <p:cNvSpPr/>
          <p:nvPr/>
        </p:nvSpPr>
        <p:spPr>
          <a:xfrm>
            <a:off x="1467150" y="1075650"/>
            <a:ext cx="6209700" cy="2992200"/>
          </a:xfrm>
          <a:prstGeom prst="roundRect">
            <a:avLst>
              <a:gd name="adj" fmla="val 10303"/>
            </a:avLst>
          </a:prstGeom>
          <a:solidFill>
            <a:schemeClr val="dk1"/>
          </a:solidFill>
          <a:ln w="1905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8;p3"/>
          <p:cNvSpPr txBox="1">
            <a:spLocks noGrp="1"/>
          </p:cNvSpPr>
          <p:nvPr>
            <p:ph type="title"/>
          </p:nvPr>
        </p:nvSpPr>
        <p:spPr>
          <a:xfrm>
            <a:off x="2161950" y="2284204"/>
            <a:ext cx="4820100" cy="841800"/>
          </a:xfrm>
          <a:prstGeom prst="rect">
            <a:avLst/>
          </a:prstGeom>
        </p:spPr>
        <p:txBody>
          <a:bodyPr spcFirstLastPara="1" wrap="square" lIns="91425" tIns="91425" rIns="91425" bIns="91425" anchor="ctr" anchorCtr="0">
            <a:noAutofit/>
          </a:bodyPr>
          <a:lstStyle>
            <a:lvl1pPr lvl="0" algn="ctr">
              <a:spcBef>
                <a:spcPts val="0"/>
              </a:spcBef>
              <a:spcAft>
                <a:spcPts val="0"/>
              </a:spcAft>
              <a:buSzPts val="3600"/>
              <a:buNone/>
              <a:defRPr sz="6000">
                <a:solidFill>
                  <a:schemeClr val="lt1"/>
                </a:solidFill>
              </a:defRPr>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59" name="Google Shape;59;p3"/>
          <p:cNvSpPr txBox="1">
            <a:spLocks noGrp="1"/>
          </p:cNvSpPr>
          <p:nvPr>
            <p:ph type="title" idx="2" hasCustomPrompt="1"/>
          </p:nvPr>
        </p:nvSpPr>
        <p:spPr>
          <a:xfrm>
            <a:off x="3952500" y="1479727"/>
            <a:ext cx="1239000" cy="756000"/>
          </a:xfrm>
          <a:prstGeom prst="rect">
            <a:avLst/>
          </a:prstGeom>
          <a:noFill/>
        </p:spPr>
        <p:txBody>
          <a:bodyPr spcFirstLastPara="1" wrap="square" lIns="91425" tIns="91425" rIns="91425" bIns="91425" anchor="ctr" anchorCtr="0">
            <a:noAutofit/>
          </a:bodyPr>
          <a:lstStyle>
            <a:lvl1pPr lvl="0" algn="ctr" rtl="0">
              <a:spcBef>
                <a:spcPts val="0"/>
              </a:spcBef>
              <a:spcAft>
                <a:spcPts val="0"/>
              </a:spcAft>
              <a:buClr>
                <a:schemeClr val="lt1"/>
              </a:buClr>
              <a:buSzPts val="4700"/>
              <a:buNone/>
              <a:defRPr sz="6000"/>
            </a:lvl1pPr>
            <a:lvl2pPr lvl="1" algn="r" rtl="0">
              <a:spcBef>
                <a:spcPts val="0"/>
              </a:spcBef>
              <a:spcAft>
                <a:spcPts val="0"/>
              </a:spcAft>
              <a:buClr>
                <a:schemeClr val="lt1"/>
              </a:buClr>
              <a:buSzPts val="4700"/>
              <a:buFont typeface="Libre Baskerville"/>
              <a:buNone/>
              <a:defRPr sz="4700">
                <a:solidFill>
                  <a:schemeClr val="lt1"/>
                </a:solidFill>
                <a:latin typeface="Libre Baskerville"/>
                <a:ea typeface="Libre Baskerville"/>
                <a:cs typeface="Libre Baskerville"/>
                <a:sym typeface="Libre Baskerville"/>
              </a:defRPr>
            </a:lvl2pPr>
            <a:lvl3pPr lvl="2" algn="r" rtl="0">
              <a:spcBef>
                <a:spcPts val="0"/>
              </a:spcBef>
              <a:spcAft>
                <a:spcPts val="0"/>
              </a:spcAft>
              <a:buClr>
                <a:schemeClr val="lt1"/>
              </a:buClr>
              <a:buSzPts val="4700"/>
              <a:buFont typeface="Libre Baskerville"/>
              <a:buNone/>
              <a:defRPr sz="4700">
                <a:solidFill>
                  <a:schemeClr val="lt1"/>
                </a:solidFill>
                <a:latin typeface="Libre Baskerville"/>
                <a:ea typeface="Libre Baskerville"/>
                <a:cs typeface="Libre Baskerville"/>
                <a:sym typeface="Libre Baskerville"/>
              </a:defRPr>
            </a:lvl3pPr>
            <a:lvl4pPr lvl="3" algn="r" rtl="0">
              <a:spcBef>
                <a:spcPts val="0"/>
              </a:spcBef>
              <a:spcAft>
                <a:spcPts val="0"/>
              </a:spcAft>
              <a:buClr>
                <a:schemeClr val="lt1"/>
              </a:buClr>
              <a:buSzPts val="4700"/>
              <a:buFont typeface="Libre Baskerville"/>
              <a:buNone/>
              <a:defRPr sz="4700">
                <a:solidFill>
                  <a:schemeClr val="lt1"/>
                </a:solidFill>
                <a:latin typeface="Libre Baskerville"/>
                <a:ea typeface="Libre Baskerville"/>
                <a:cs typeface="Libre Baskerville"/>
                <a:sym typeface="Libre Baskerville"/>
              </a:defRPr>
            </a:lvl4pPr>
            <a:lvl5pPr lvl="4" algn="r" rtl="0">
              <a:spcBef>
                <a:spcPts val="0"/>
              </a:spcBef>
              <a:spcAft>
                <a:spcPts val="0"/>
              </a:spcAft>
              <a:buClr>
                <a:schemeClr val="lt1"/>
              </a:buClr>
              <a:buSzPts val="4700"/>
              <a:buFont typeface="Libre Baskerville"/>
              <a:buNone/>
              <a:defRPr sz="4700">
                <a:solidFill>
                  <a:schemeClr val="lt1"/>
                </a:solidFill>
                <a:latin typeface="Libre Baskerville"/>
                <a:ea typeface="Libre Baskerville"/>
                <a:cs typeface="Libre Baskerville"/>
                <a:sym typeface="Libre Baskerville"/>
              </a:defRPr>
            </a:lvl5pPr>
            <a:lvl6pPr lvl="5" algn="r" rtl="0">
              <a:spcBef>
                <a:spcPts val="0"/>
              </a:spcBef>
              <a:spcAft>
                <a:spcPts val="0"/>
              </a:spcAft>
              <a:buClr>
                <a:schemeClr val="lt1"/>
              </a:buClr>
              <a:buSzPts val="4700"/>
              <a:buFont typeface="Libre Baskerville"/>
              <a:buNone/>
              <a:defRPr sz="4700">
                <a:solidFill>
                  <a:schemeClr val="lt1"/>
                </a:solidFill>
                <a:latin typeface="Libre Baskerville"/>
                <a:ea typeface="Libre Baskerville"/>
                <a:cs typeface="Libre Baskerville"/>
                <a:sym typeface="Libre Baskerville"/>
              </a:defRPr>
            </a:lvl6pPr>
            <a:lvl7pPr lvl="6" algn="r" rtl="0">
              <a:spcBef>
                <a:spcPts val="0"/>
              </a:spcBef>
              <a:spcAft>
                <a:spcPts val="0"/>
              </a:spcAft>
              <a:buClr>
                <a:schemeClr val="lt1"/>
              </a:buClr>
              <a:buSzPts val="4700"/>
              <a:buFont typeface="Libre Baskerville"/>
              <a:buNone/>
              <a:defRPr sz="4700">
                <a:solidFill>
                  <a:schemeClr val="lt1"/>
                </a:solidFill>
                <a:latin typeface="Libre Baskerville"/>
                <a:ea typeface="Libre Baskerville"/>
                <a:cs typeface="Libre Baskerville"/>
                <a:sym typeface="Libre Baskerville"/>
              </a:defRPr>
            </a:lvl7pPr>
            <a:lvl8pPr lvl="7" algn="r" rtl="0">
              <a:spcBef>
                <a:spcPts val="0"/>
              </a:spcBef>
              <a:spcAft>
                <a:spcPts val="0"/>
              </a:spcAft>
              <a:buClr>
                <a:schemeClr val="lt1"/>
              </a:buClr>
              <a:buSzPts val="4700"/>
              <a:buFont typeface="Libre Baskerville"/>
              <a:buNone/>
              <a:defRPr sz="4700">
                <a:solidFill>
                  <a:schemeClr val="lt1"/>
                </a:solidFill>
                <a:latin typeface="Libre Baskerville"/>
                <a:ea typeface="Libre Baskerville"/>
                <a:cs typeface="Libre Baskerville"/>
                <a:sym typeface="Libre Baskerville"/>
              </a:defRPr>
            </a:lvl8pPr>
            <a:lvl9pPr lvl="8" algn="r" rtl="0">
              <a:spcBef>
                <a:spcPts val="0"/>
              </a:spcBef>
              <a:spcAft>
                <a:spcPts val="0"/>
              </a:spcAft>
              <a:buClr>
                <a:schemeClr val="lt1"/>
              </a:buClr>
              <a:buSzPts val="4700"/>
              <a:buFont typeface="Libre Baskerville"/>
              <a:buNone/>
              <a:defRPr sz="4700">
                <a:solidFill>
                  <a:schemeClr val="lt1"/>
                </a:solidFill>
                <a:latin typeface="Libre Baskerville"/>
                <a:ea typeface="Libre Baskerville"/>
                <a:cs typeface="Libre Baskerville"/>
                <a:sym typeface="Libre Baskerville"/>
              </a:defRPr>
            </a:lvl9pPr>
          </a:lstStyle>
          <a:p>
            <a:r>
              <a:t>xx%</a:t>
            </a:r>
          </a:p>
        </p:txBody>
      </p:sp>
      <p:sp>
        <p:nvSpPr>
          <p:cNvPr id="60" name="Google Shape;60;p3"/>
          <p:cNvSpPr txBox="1">
            <a:spLocks noGrp="1"/>
          </p:cNvSpPr>
          <p:nvPr>
            <p:ph type="subTitle" idx="1"/>
          </p:nvPr>
        </p:nvSpPr>
        <p:spPr>
          <a:xfrm>
            <a:off x="2532725" y="3234954"/>
            <a:ext cx="4078500" cy="416700"/>
          </a:xfrm>
          <a:prstGeom prst="rect">
            <a:avLst/>
          </a:prstGeom>
        </p:spPr>
        <p:txBody>
          <a:bodyPr spcFirstLastPara="1" wrap="square" lIns="91425" tIns="91425" rIns="91425" bIns="91425" anchor="t" anchorCtr="0">
            <a:noAutofit/>
          </a:bodyPr>
          <a:lstStyle>
            <a:lvl1pPr lvl="0" algn="ctr" rtl="0">
              <a:lnSpc>
                <a:spcPct val="115000"/>
              </a:lnSpc>
              <a:spcBef>
                <a:spcPts val="0"/>
              </a:spcBef>
              <a:spcAft>
                <a:spcPts val="0"/>
              </a:spcAft>
              <a:buSzPts val="1400"/>
              <a:buNone/>
              <a:defRPr sz="1400">
                <a:solidFill>
                  <a:schemeClr val="lt1"/>
                </a:solidFill>
              </a:defRPr>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68"/>
        <p:cNvGrpSpPr/>
        <p:nvPr/>
      </p:nvGrpSpPr>
      <p:grpSpPr>
        <a:xfrm>
          <a:off x="0" y="0"/>
          <a:ext cx="0" cy="0"/>
          <a:chOff x="0" y="0"/>
          <a:chExt cx="0" cy="0"/>
        </a:xfrm>
      </p:grpSpPr>
      <p:grpSp>
        <p:nvGrpSpPr>
          <p:cNvPr id="69" name="Google Shape;69;p5"/>
          <p:cNvGrpSpPr/>
          <p:nvPr/>
        </p:nvGrpSpPr>
        <p:grpSpPr>
          <a:xfrm>
            <a:off x="75" y="-89"/>
            <a:ext cx="4254703" cy="5143489"/>
            <a:chOff x="75" y="3985500"/>
            <a:chExt cx="9144000" cy="1158000"/>
          </a:xfrm>
        </p:grpSpPr>
        <p:sp>
          <p:nvSpPr>
            <p:cNvPr id="70" name="Google Shape;70;p5"/>
            <p:cNvSpPr/>
            <p:nvPr/>
          </p:nvSpPr>
          <p:spPr>
            <a:xfrm>
              <a:off x="75" y="3985500"/>
              <a:ext cx="9144000" cy="289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71;p5"/>
            <p:cNvSpPr/>
            <p:nvPr/>
          </p:nvSpPr>
          <p:spPr>
            <a:xfrm>
              <a:off x="75" y="4275000"/>
              <a:ext cx="9144000" cy="289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2;p5"/>
            <p:cNvSpPr/>
            <p:nvPr/>
          </p:nvSpPr>
          <p:spPr>
            <a:xfrm>
              <a:off x="75" y="4564500"/>
              <a:ext cx="9144000" cy="289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73;p5"/>
            <p:cNvSpPr/>
            <p:nvPr/>
          </p:nvSpPr>
          <p:spPr>
            <a:xfrm>
              <a:off x="75" y="4854000"/>
              <a:ext cx="9144000" cy="2895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74;p5"/>
          <p:cNvSpPr/>
          <p:nvPr/>
        </p:nvSpPr>
        <p:spPr>
          <a:xfrm rot="5400000">
            <a:off x="-107775" y="1101600"/>
            <a:ext cx="4602900" cy="2940300"/>
          </a:xfrm>
          <a:prstGeom prst="roundRect">
            <a:avLst>
              <a:gd name="adj" fmla="val 10303"/>
            </a:avLst>
          </a:prstGeom>
          <a:solidFill>
            <a:schemeClr val="dk1"/>
          </a:solidFill>
          <a:ln w="1905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5;p5"/>
          <p:cNvSpPr txBox="1">
            <a:spLocks noGrp="1"/>
          </p:cNvSpPr>
          <p:nvPr>
            <p:ph type="title"/>
          </p:nvPr>
        </p:nvSpPr>
        <p:spPr>
          <a:xfrm>
            <a:off x="1031390" y="1852650"/>
            <a:ext cx="2320800" cy="1438200"/>
          </a:xfrm>
          <a:prstGeom prst="rect">
            <a:avLst/>
          </a:prstGeom>
        </p:spPr>
        <p:txBody>
          <a:bodyPr spcFirstLastPara="1" wrap="square" lIns="91425" tIns="91425" rIns="91425" bIns="91425" anchor="t" anchorCtr="0">
            <a:noAutofit/>
          </a:bodyPr>
          <a:lstStyle>
            <a:lvl1pPr lvl="0" algn="ctr">
              <a:spcBef>
                <a:spcPts val="0"/>
              </a:spcBef>
              <a:spcAft>
                <a:spcPts val="0"/>
              </a:spcAft>
              <a:buSzPts val="2800"/>
              <a:buNone/>
              <a:defRPr>
                <a:solidFill>
                  <a:schemeClr val="lt1"/>
                </a:solidFill>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76" name="Google Shape;76;p5"/>
          <p:cNvSpPr txBox="1">
            <a:spLocks noGrp="1"/>
          </p:cNvSpPr>
          <p:nvPr>
            <p:ph type="ctrTitle" idx="2"/>
          </p:nvPr>
        </p:nvSpPr>
        <p:spPr>
          <a:xfrm>
            <a:off x="5686200" y="943600"/>
            <a:ext cx="2744400" cy="438900"/>
          </a:xfrm>
          <a:prstGeom prst="rect">
            <a:avLst/>
          </a:prstGeom>
        </p:spPr>
        <p:txBody>
          <a:bodyPr spcFirstLastPara="1" wrap="square" lIns="91425" tIns="91425" rIns="91425" bIns="91425" anchor="b" anchorCtr="0">
            <a:noAutofit/>
          </a:bodyPr>
          <a:lstStyle>
            <a:lvl1pPr lvl="0" rtl="0">
              <a:spcBef>
                <a:spcPts val="0"/>
              </a:spcBef>
              <a:spcAft>
                <a:spcPts val="0"/>
              </a:spcAft>
              <a:buSzPts val="1800"/>
              <a:buNone/>
              <a:defRPr sz="1800"/>
            </a:lvl1pPr>
            <a:lvl2pPr lvl="1"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2pPr>
            <a:lvl3pPr lvl="2"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3pPr>
            <a:lvl4pPr lvl="3"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4pPr>
            <a:lvl5pPr lvl="4"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5pPr>
            <a:lvl6pPr lvl="5"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6pPr>
            <a:lvl7pPr lvl="6"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7pPr>
            <a:lvl8pPr lvl="7"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8pPr>
            <a:lvl9pPr lvl="8"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9pPr>
          </a:lstStyle>
          <a:p>
            <a:endParaRPr/>
          </a:p>
        </p:txBody>
      </p:sp>
      <p:sp>
        <p:nvSpPr>
          <p:cNvPr id="77" name="Google Shape;77;p5"/>
          <p:cNvSpPr txBox="1">
            <a:spLocks noGrp="1"/>
          </p:cNvSpPr>
          <p:nvPr>
            <p:ph type="ctrTitle" idx="3"/>
          </p:nvPr>
        </p:nvSpPr>
        <p:spPr>
          <a:xfrm>
            <a:off x="5686200" y="2906869"/>
            <a:ext cx="2744400" cy="438900"/>
          </a:xfrm>
          <a:prstGeom prst="rect">
            <a:avLst/>
          </a:prstGeom>
        </p:spPr>
        <p:txBody>
          <a:bodyPr spcFirstLastPara="1" wrap="square" lIns="91425" tIns="91425" rIns="91425" bIns="91425" anchor="b" anchorCtr="0">
            <a:noAutofit/>
          </a:bodyPr>
          <a:lstStyle>
            <a:lvl1pPr lvl="0" rtl="0">
              <a:spcBef>
                <a:spcPts val="0"/>
              </a:spcBef>
              <a:spcAft>
                <a:spcPts val="0"/>
              </a:spcAft>
              <a:buSzPts val="1800"/>
              <a:buNone/>
              <a:defRPr sz="1800"/>
            </a:lvl1pPr>
            <a:lvl2pPr lvl="1"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2pPr>
            <a:lvl3pPr lvl="2"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3pPr>
            <a:lvl4pPr lvl="3"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4pPr>
            <a:lvl5pPr lvl="4"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5pPr>
            <a:lvl6pPr lvl="5"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6pPr>
            <a:lvl7pPr lvl="6"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7pPr>
            <a:lvl8pPr lvl="7"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8pPr>
            <a:lvl9pPr lvl="8"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9pPr>
          </a:lstStyle>
          <a:p>
            <a:endParaRPr/>
          </a:p>
        </p:txBody>
      </p:sp>
      <p:sp>
        <p:nvSpPr>
          <p:cNvPr id="78" name="Google Shape;78;p5"/>
          <p:cNvSpPr txBox="1">
            <a:spLocks noGrp="1"/>
          </p:cNvSpPr>
          <p:nvPr>
            <p:ph type="subTitle" idx="1"/>
          </p:nvPr>
        </p:nvSpPr>
        <p:spPr>
          <a:xfrm>
            <a:off x="5686200" y="1379375"/>
            <a:ext cx="2914200" cy="797700"/>
          </a:xfrm>
          <a:prstGeom prst="rect">
            <a:avLst/>
          </a:prstGeom>
        </p:spPr>
        <p:txBody>
          <a:bodyPr spcFirstLastPara="1" wrap="square" lIns="91425" tIns="91425" rIns="91425" bIns="91425" anchor="ctr" anchorCtr="0">
            <a:noAutofit/>
          </a:bodyPr>
          <a:lstStyle>
            <a:lvl1pPr lvl="0">
              <a:spcBef>
                <a:spcPts val="0"/>
              </a:spcBef>
              <a:spcAft>
                <a:spcPts val="0"/>
              </a:spcAft>
              <a:buSzPts val="1800"/>
              <a:buNone/>
              <a:defRPr sz="16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 name="Google Shape;79;p5"/>
          <p:cNvSpPr txBox="1">
            <a:spLocks noGrp="1"/>
          </p:cNvSpPr>
          <p:nvPr>
            <p:ph type="subTitle" idx="4"/>
          </p:nvPr>
        </p:nvSpPr>
        <p:spPr>
          <a:xfrm>
            <a:off x="5686200" y="3283100"/>
            <a:ext cx="2914200" cy="916800"/>
          </a:xfrm>
          <a:prstGeom prst="rect">
            <a:avLst/>
          </a:prstGeom>
        </p:spPr>
        <p:txBody>
          <a:bodyPr spcFirstLastPara="1" wrap="square" lIns="91425" tIns="91425" rIns="91425" bIns="91425" anchor="ctr" anchorCtr="0">
            <a:noAutofit/>
          </a:bodyPr>
          <a:lstStyle>
            <a:lvl1pPr lvl="0" rtl="0">
              <a:spcBef>
                <a:spcPts val="0"/>
              </a:spcBef>
              <a:spcAft>
                <a:spcPts val="0"/>
              </a:spcAft>
              <a:buSzPts val="1800"/>
              <a:buNone/>
              <a:defRPr sz="16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80"/>
        <p:cNvGrpSpPr/>
        <p:nvPr/>
      </p:nvGrpSpPr>
      <p:grpSpPr>
        <a:xfrm>
          <a:off x="0" y="0"/>
          <a:ext cx="0" cy="0"/>
          <a:chOff x="0" y="0"/>
          <a:chExt cx="0" cy="0"/>
        </a:xfrm>
      </p:grpSpPr>
      <p:sp>
        <p:nvSpPr>
          <p:cNvPr id="81" name="Google Shape;81;p6"/>
          <p:cNvSpPr txBox="1">
            <a:spLocks noGrp="1"/>
          </p:cNvSpPr>
          <p:nvPr>
            <p:ph type="title"/>
          </p:nvPr>
        </p:nvSpPr>
        <p:spPr>
          <a:xfrm>
            <a:off x="713400" y="381209"/>
            <a:ext cx="77172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grpSp>
        <p:nvGrpSpPr>
          <p:cNvPr id="82" name="Google Shape;82;p6"/>
          <p:cNvGrpSpPr/>
          <p:nvPr/>
        </p:nvGrpSpPr>
        <p:grpSpPr>
          <a:xfrm>
            <a:off x="75" y="4767375"/>
            <a:ext cx="9144000" cy="376233"/>
            <a:chOff x="75" y="4275004"/>
            <a:chExt cx="9144000" cy="868496"/>
          </a:xfrm>
        </p:grpSpPr>
        <p:sp>
          <p:nvSpPr>
            <p:cNvPr id="83" name="Google Shape;83;p6"/>
            <p:cNvSpPr/>
            <p:nvPr/>
          </p:nvSpPr>
          <p:spPr>
            <a:xfrm>
              <a:off x="75" y="4275004"/>
              <a:ext cx="9144000" cy="2997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84;p6"/>
            <p:cNvSpPr/>
            <p:nvPr/>
          </p:nvSpPr>
          <p:spPr>
            <a:xfrm>
              <a:off x="75" y="4564476"/>
              <a:ext cx="9144000" cy="2997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6"/>
            <p:cNvSpPr/>
            <p:nvPr/>
          </p:nvSpPr>
          <p:spPr>
            <a:xfrm>
              <a:off x="75" y="4854000"/>
              <a:ext cx="9144000" cy="2895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86"/>
        <p:cNvGrpSpPr/>
        <p:nvPr/>
      </p:nvGrpSpPr>
      <p:grpSpPr>
        <a:xfrm>
          <a:off x="0" y="0"/>
          <a:ext cx="0" cy="0"/>
          <a:chOff x="0" y="0"/>
          <a:chExt cx="0" cy="0"/>
        </a:xfrm>
      </p:grpSpPr>
      <p:grpSp>
        <p:nvGrpSpPr>
          <p:cNvPr id="87" name="Google Shape;87;p7"/>
          <p:cNvGrpSpPr/>
          <p:nvPr/>
        </p:nvGrpSpPr>
        <p:grpSpPr>
          <a:xfrm>
            <a:off x="1323975" y="3828905"/>
            <a:ext cx="2809800" cy="1314395"/>
            <a:chOff x="1514475" y="3829050"/>
            <a:chExt cx="2809800" cy="1448050"/>
          </a:xfrm>
        </p:grpSpPr>
        <p:sp>
          <p:nvSpPr>
            <p:cNvPr id="88" name="Google Shape;88;p7"/>
            <p:cNvSpPr/>
            <p:nvPr/>
          </p:nvSpPr>
          <p:spPr>
            <a:xfrm>
              <a:off x="1514475" y="3829050"/>
              <a:ext cx="2809800" cy="1398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89;p7"/>
            <p:cNvSpPr/>
            <p:nvPr/>
          </p:nvSpPr>
          <p:spPr>
            <a:xfrm>
              <a:off x="1514475" y="4114800"/>
              <a:ext cx="2809800" cy="2286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0;p7"/>
            <p:cNvSpPr/>
            <p:nvPr/>
          </p:nvSpPr>
          <p:spPr>
            <a:xfrm>
              <a:off x="1514475" y="4489250"/>
              <a:ext cx="2809800" cy="321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1;p7"/>
            <p:cNvSpPr/>
            <p:nvPr/>
          </p:nvSpPr>
          <p:spPr>
            <a:xfrm>
              <a:off x="1514475" y="4956100"/>
              <a:ext cx="2809800" cy="3210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2" name="Google Shape;92;p7"/>
          <p:cNvSpPr/>
          <p:nvPr/>
        </p:nvSpPr>
        <p:spPr>
          <a:xfrm rot="10800000">
            <a:off x="1323975" y="339975"/>
            <a:ext cx="2809800" cy="126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93;p7"/>
          <p:cNvSpPr/>
          <p:nvPr/>
        </p:nvSpPr>
        <p:spPr>
          <a:xfrm rot="10800000">
            <a:off x="1323975" y="-101"/>
            <a:ext cx="2809800" cy="2076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7"/>
          <p:cNvSpPr txBox="1">
            <a:spLocks noGrp="1"/>
          </p:cNvSpPr>
          <p:nvPr>
            <p:ph type="title"/>
          </p:nvPr>
        </p:nvSpPr>
        <p:spPr>
          <a:xfrm>
            <a:off x="1237900" y="961938"/>
            <a:ext cx="2962500" cy="8955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95" name="Google Shape;95;p7"/>
          <p:cNvSpPr txBox="1">
            <a:spLocks noGrp="1"/>
          </p:cNvSpPr>
          <p:nvPr>
            <p:ph type="subTitle" idx="1"/>
          </p:nvPr>
        </p:nvSpPr>
        <p:spPr>
          <a:xfrm>
            <a:off x="1237900" y="1924325"/>
            <a:ext cx="2962500" cy="1392300"/>
          </a:xfrm>
          <a:prstGeom prst="rect">
            <a:avLst/>
          </a:prstGeom>
        </p:spPr>
        <p:txBody>
          <a:bodyPr spcFirstLastPara="1" wrap="square" lIns="91425" tIns="91425" rIns="91425" bIns="91425" anchor="t" anchorCtr="0">
            <a:noAutofit/>
          </a:bodyPr>
          <a:lstStyle>
            <a:lvl1pPr lvl="0" rtl="0">
              <a:spcBef>
                <a:spcPts val="0"/>
              </a:spcBef>
              <a:spcAft>
                <a:spcPts val="0"/>
              </a:spcAft>
              <a:buSzPts val="1800"/>
              <a:buNone/>
              <a:defRPr sz="16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Blank" type="blank">
  <p:cSld name="BLANK">
    <p:bg>
      <p:bgPr>
        <a:noFill/>
        <a:effectLst/>
      </p:bgPr>
    </p:bg>
    <p:spTree>
      <p:nvGrpSpPr>
        <p:cNvPr id="1" name="Shape 206"/>
        <p:cNvGrpSpPr/>
        <p:nvPr/>
      </p:nvGrpSpPr>
      <p:grpSpPr>
        <a:xfrm>
          <a:off x="0" y="0"/>
          <a:ext cx="0" cy="0"/>
          <a:chOff x="0" y="0"/>
          <a:chExt cx="0" cy="0"/>
        </a:xfrm>
      </p:grpSpPr>
      <p:sp>
        <p:nvSpPr>
          <p:cNvPr id="207" name="Google Shape;207;p12"/>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l"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Quote">
  <p:cSld name="CUSTOM_1">
    <p:spTree>
      <p:nvGrpSpPr>
        <p:cNvPr id="1" name="Shape 233"/>
        <p:cNvGrpSpPr/>
        <p:nvPr/>
      </p:nvGrpSpPr>
      <p:grpSpPr>
        <a:xfrm>
          <a:off x="0" y="0"/>
          <a:ext cx="0" cy="0"/>
          <a:chOff x="0" y="0"/>
          <a:chExt cx="0" cy="0"/>
        </a:xfrm>
      </p:grpSpPr>
      <p:grpSp>
        <p:nvGrpSpPr>
          <p:cNvPr id="234" name="Google Shape;234;p14"/>
          <p:cNvGrpSpPr/>
          <p:nvPr/>
        </p:nvGrpSpPr>
        <p:grpSpPr>
          <a:xfrm>
            <a:off x="-40" y="0"/>
            <a:ext cx="9143957" cy="5143500"/>
            <a:chOff x="-19200" y="0"/>
            <a:chExt cx="9163200" cy="5143500"/>
          </a:xfrm>
        </p:grpSpPr>
        <p:cxnSp>
          <p:nvCxnSpPr>
            <p:cNvPr id="235" name="Google Shape;235;p14"/>
            <p:cNvCxnSpPr/>
            <p:nvPr/>
          </p:nvCxnSpPr>
          <p:spPr>
            <a:xfrm>
              <a:off x="458597"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36" name="Google Shape;236;p14"/>
            <p:cNvCxnSpPr/>
            <p:nvPr/>
          </p:nvCxnSpPr>
          <p:spPr>
            <a:xfrm>
              <a:off x="941120"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37" name="Google Shape;237;p14"/>
            <p:cNvCxnSpPr/>
            <p:nvPr/>
          </p:nvCxnSpPr>
          <p:spPr>
            <a:xfrm>
              <a:off x="1423642"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38" name="Google Shape;238;p14"/>
            <p:cNvCxnSpPr/>
            <p:nvPr/>
          </p:nvCxnSpPr>
          <p:spPr>
            <a:xfrm>
              <a:off x="1906164"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39" name="Google Shape;239;p14"/>
            <p:cNvCxnSpPr/>
            <p:nvPr/>
          </p:nvCxnSpPr>
          <p:spPr>
            <a:xfrm>
              <a:off x="2388687"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40" name="Google Shape;240;p14"/>
            <p:cNvCxnSpPr/>
            <p:nvPr/>
          </p:nvCxnSpPr>
          <p:spPr>
            <a:xfrm>
              <a:off x="2871209"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41" name="Google Shape;241;p14"/>
            <p:cNvCxnSpPr/>
            <p:nvPr/>
          </p:nvCxnSpPr>
          <p:spPr>
            <a:xfrm>
              <a:off x="3353732"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42" name="Google Shape;242;p14"/>
            <p:cNvCxnSpPr/>
            <p:nvPr/>
          </p:nvCxnSpPr>
          <p:spPr>
            <a:xfrm>
              <a:off x="3836254"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43" name="Google Shape;243;p14"/>
            <p:cNvCxnSpPr/>
            <p:nvPr/>
          </p:nvCxnSpPr>
          <p:spPr>
            <a:xfrm>
              <a:off x="4318776"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44" name="Google Shape;244;p14"/>
            <p:cNvCxnSpPr/>
            <p:nvPr/>
          </p:nvCxnSpPr>
          <p:spPr>
            <a:xfrm>
              <a:off x="4801299"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45" name="Google Shape;245;p14"/>
            <p:cNvCxnSpPr/>
            <p:nvPr/>
          </p:nvCxnSpPr>
          <p:spPr>
            <a:xfrm>
              <a:off x="5283821"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46" name="Google Shape;246;p14"/>
            <p:cNvCxnSpPr/>
            <p:nvPr/>
          </p:nvCxnSpPr>
          <p:spPr>
            <a:xfrm>
              <a:off x="5766343"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47" name="Google Shape;247;p14"/>
            <p:cNvCxnSpPr/>
            <p:nvPr/>
          </p:nvCxnSpPr>
          <p:spPr>
            <a:xfrm>
              <a:off x="6248866"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48" name="Google Shape;248;p14"/>
            <p:cNvCxnSpPr/>
            <p:nvPr/>
          </p:nvCxnSpPr>
          <p:spPr>
            <a:xfrm>
              <a:off x="6731388"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49" name="Google Shape;249;p14"/>
            <p:cNvCxnSpPr/>
            <p:nvPr/>
          </p:nvCxnSpPr>
          <p:spPr>
            <a:xfrm>
              <a:off x="7213911"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50" name="Google Shape;250;p14"/>
            <p:cNvCxnSpPr/>
            <p:nvPr/>
          </p:nvCxnSpPr>
          <p:spPr>
            <a:xfrm>
              <a:off x="7696433"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51" name="Google Shape;251;p14"/>
            <p:cNvCxnSpPr/>
            <p:nvPr/>
          </p:nvCxnSpPr>
          <p:spPr>
            <a:xfrm>
              <a:off x="8178955"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52" name="Google Shape;252;p14"/>
            <p:cNvCxnSpPr/>
            <p:nvPr/>
          </p:nvCxnSpPr>
          <p:spPr>
            <a:xfrm>
              <a:off x="8661478"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53" name="Google Shape;253;p14"/>
            <p:cNvCxnSpPr/>
            <p:nvPr/>
          </p:nvCxnSpPr>
          <p:spPr>
            <a:xfrm>
              <a:off x="4562400" y="-4181188"/>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254" name="Google Shape;254;p14"/>
            <p:cNvCxnSpPr/>
            <p:nvPr/>
          </p:nvCxnSpPr>
          <p:spPr>
            <a:xfrm>
              <a:off x="4562400" y="-3698666"/>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255" name="Google Shape;255;p14"/>
            <p:cNvCxnSpPr/>
            <p:nvPr/>
          </p:nvCxnSpPr>
          <p:spPr>
            <a:xfrm>
              <a:off x="4562400" y="-3216143"/>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256" name="Google Shape;256;p14"/>
            <p:cNvCxnSpPr/>
            <p:nvPr/>
          </p:nvCxnSpPr>
          <p:spPr>
            <a:xfrm>
              <a:off x="4562400" y="-2733621"/>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257" name="Google Shape;257;p14"/>
            <p:cNvCxnSpPr/>
            <p:nvPr/>
          </p:nvCxnSpPr>
          <p:spPr>
            <a:xfrm>
              <a:off x="4562400" y="-2251099"/>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258" name="Google Shape;258;p14"/>
            <p:cNvCxnSpPr/>
            <p:nvPr/>
          </p:nvCxnSpPr>
          <p:spPr>
            <a:xfrm>
              <a:off x="4562400" y="-1768576"/>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259" name="Google Shape;259;p14"/>
            <p:cNvCxnSpPr/>
            <p:nvPr/>
          </p:nvCxnSpPr>
          <p:spPr>
            <a:xfrm>
              <a:off x="4562400" y="-1286054"/>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260" name="Google Shape;260;p14"/>
            <p:cNvCxnSpPr/>
            <p:nvPr/>
          </p:nvCxnSpPr>
          <p:spPr>
            <a:xfrm>
              <a:off x="4562400" y="-803532"/>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261" name="Google Shape;261;p14"/>
            <p:cNvCxnSpPr/>
            <p:nvPr/>
          </p:nvCxnSpPr>
          <p:spPr>
            <a:xfrm>
              <a:off x="4562400" y="-321009"/>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262" name="Google Shape;262;p14"/>
            <p:cNvCxnSpPr/>
            <p:nvPr/>
          </p:nvCxnSpPr>
          <p:spPr>
            <a:xfrm>
              <a:off x="4562400" y="161513"/>
              <a:ext cx="0" cy="9163200"/>
            </a:xfrm>
            <a:prstGeom prst="straightConnector1">
              <a:avLst/>
            </a:prstGeom>
            <a:noFill/>
            <a:ln w="19050" cap="flat" cmpd="sng">
              <a:solidFill>
                <a:schemeClr val="accent5"/>
              </a:solidFill>
              <a:prstDash val="solid"/>
              <a:round/>
              <a:headEnd type="none" w="med" len="med"/>
              <a:tailEnd type="none" w="med" len="med"/>
            </a:ln>
          </p:spPr>
        </p:cxnSp>
      </p:grpSp>
      <p:grpSp>
        <p:nvGrpSpPr>
          <p:cNvPr id="263" name="Google Shape;263;p14"/>
          <p:cNvGrpSpPr/>
          <p:nvPr/>
        </p:nvGrpSpPr>
        <p:grpSpPr>
          <a:xfrm>
            <a:off x="75" y="3752562"/>
            <a:ext cx="9144000" cy="1390930"/>
            <a:chOff x="75" y="4298155"/>
            <a:chExt cx="9144000" cy="845345"/>
          </a:xfrm>
        </p:grpSpPr>
        <p:sp>
          <p:nvSpPr>
            <p:cNvPr id="264" name="Google Shape;264;p14"/>
            <p:cNvSpPr/>
            <p:nvPr/>
          </p:nvSpPr>
          <p:spPr>
            <a:xfrm>
              <a:off x="75" y="4298155"/>
              <a:ext cx="9144000" cy="289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 name="Google Shape;265;p14"/>
            <p:cNvSpPr/>
            <p:nvPr/>
          </p:nvSpPr>
          <p:spPr>
            <a:xfrm>
              <a:off x="75" y="4581867"/>
              <a:ext cx="9144000" cy="289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 name="Google Shape;266;p14"/>
            <p:cNvSpPr/>
            <p:nvPr/>
          </p:nvSpPr>
          <p:spPr>
            <a:xfrm>
              <a:off x="75" y="4854000"/>
              <a:ext cx="9144000" cy="2895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7" name="Google Shape;267;p14"/>
          <p:cNvSpPr/>
          <p:nvPr/>
        </p:nvSpPr>
        <p:spPr>
          <a:xfrm>
            <a:off x="3091975" y="2085900"/>
            <a:ext cx="5406300" cy="2518200"/>
          </a:xfrm>
          <a:prstGeom prst="roundRect">
            <a:avLst>
              <a:gd name="adj" fmla="val 10303"/>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 name="Google Shape;268;p14"/>
          <p:cNvSpPr txBox="1">
            <a:spLocks noGrp="1"/>
          </p:cNvSpPr>
          <p:nvPr>
            <p:ph type="subTitle" idx="1"/>
          </p:nvPr>
        </p:nvSpPr>
        <p:spPr>
          <a:xfrm>
            <a:off x="713400" y="444900"/>
            <a:ext cx="2659200" cy="7314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None/>
              <a:defRPr sz="4800">
                <a:solidFill>
                  <a:schemeClr val="lt1"/>
                </a:solidFill>
                <a:latin typeface="Archivo Black"/>
                <a:ea typeface="Archivo Black"/>
                <a:cs typeface="Archivo Black"/>
                <a:sym typeface="Archivo Black"/>
              </a:defRPr>
            </a:lvl1pPr>
            <a:lvl2pPr lvl="1" rtl="0">
              <a:lnSpc>
                <a:spcPct val="100000"/>
              </a:lnSpc>
              <a:spcBef>
                <a:spcPts val="0"/>
              </a:spcBef>
              <a:spcAft>
                <a:spcPts val="0"/>
              </a:spcAft>
              <a:buNone/>
              <a:defRPr sz="4800">
                <a:solidFill>
                  <a:schemeClr val="lt1"/>
                </a:solidFill>
                <a:latin typeface="Archivo Black"/>
                <a:ea typeface="Archivo Black"/>
                <a:cs typeface="Archivo Black"/>
                <a:sym typeface="Archivo Black"/>
              </a:defRPr>
            </a:lvl2pPr>
            <a:lvl3pPr lvl="2" rtl="0">
              <a:lnSpc>
                <a:spcPct val="100000"/>
              </a:lnSpc>
              <a:spcBef>
                <a:spcPts val="0"/>
              </a:spcBef>
              <a:spcAft>
                <a:spcPts val="0"/>
              </a:spcAft>
              <a:buNone/>
              <a:defRPr sz="4800">
                <a:solidFill>
                  <a:schemeClr val="lt1"/>
                </a:solidFill>
                <a:latin typeface="Archivo Black"/>
                <a:ea typeface="Archivo Black"/>
                <a:cs typeface="Archivo Black"/>
                <a:sym typeface="Archivo Black"/>
              </a:defRPr>
            </a:lvl3pPr>
            <a:lvl4pPr lvl="3" rtl="0">
              <a:lnSpc>
                <a:spcPct val="100000"/>
              </a:lnSpc>
              <a:spcBef>
                <a:spcPts val="0"/>
              </a:spcBef>
              <a:spcAft>
                <a:spcPts val="0"/>
              </a:spcAft>
              <a:buNone/>
              <a:defRPr sz="4800">
                <a:solidFill>
                  <a:schemeClr val="lt1"/>
                </a:solidFill>
                <a:latin typeface="Archivo Black"/>
                <a:ea typeface="Archivo Black"/>
                <a:cs typeface="Archivo Black"/>
                <a:sym typeface="Archivo Black"/>
              </a:defRPr>
            </a:lvl4pPr>
            <a:lvl5pPr lvl="4" rtl="0">
              <a:lnSpc>
                <a:spcPct val="100000"/>
              </a:lnSpc>
              <a:spcBef>
                <a:spcPts val="0"/>
              </a:spcBef>
              <a:spcAft>
                <a:spcPts val="0"/>
              </a:spcAft>
              <a:buNone/>
              <a:defRPr sz="4800">
                <a:solidFill>
                  <a:schemeClr val="lt1"/>
                </a:solidFill>
                <a:latin typeface="Archivo Black"/>
                <a:ea typeface="Archivo Black"/>
                <a:cs typeface="Archivo Black"/>
                <a:sym typeface="Archivo Black"/>
              </a:defRPr>
            </a:lvl5pPr>
            <a:lvl6pPr lvl="5" rtl="0">
              <a:lnSpc>
                <a:spcPct val="100000"/>
              </a:lnSpc>
              <a:spcBef>
                <a:spcPts val="0"/>
              </a:spcBef>
              <a:spcAft>
                <a:spcPts val="0"/>
              </a:spcAft>
              <a:buNone/>
              <a:defRPr sz="4800">
                <a:solidFill>
                  <a:schemeClr val="lt1"/>
                </a:solidFill>
                <a:latin typeface="Archivo Black"/>
                <a:ea typeface="Archivo Black"/>
                <a:cs typeface="Archivo Black"/>
                <a:sym typeface="Archivo Black"/>
              </a:defRPr>
            </a:lvl6pPr>
            <a:lvl7pPr lvl="6" rtl="0">
              <a:lnSpc>
                <a:spcPct val="100000"/>
              </a:lnSpc>
              <a:spcBef>
                <a:spcPts val="0"/>
              </a:spcBef>
              <a:spcAft>
                <a:spcPts val="0"/>
              </a:spcAft>
              <a:buNone/>
              <a:defRPr sz="4800">
                <a:solidFill>
                  <a:schemeClr val="lt1"/>
                </a:solidFill>
                <a:latin typeface="Archivo Black"/>
                <a:ea typeface="Archivo Black"/>
                <a:cs typeface="Archivo Black"/>
                <a:sym typeface="Archivo Black"/>
              </a:defRPr>
            </a:lvl7pPr>
            <a:lvl8pPr lvl="7" rtl="0">
              <a:lnSpc>
                <a:spcPct val="100000"/>
              </a:lnSpc>
              <a:spcBef>
                <a:spcPts val="0"/>
              </a:spcBef>
              <a:spcAft>
                <a:spcPts val="0"/>
              </a:spcAft>
              <a:buNone/>
              <a:defRPr sz="4800">
                <a:solidFill>
                  <a:schemeClr val="lt1"/>
                </a:solidFill>
                <a:latin typeface="Archivo Black"/>
                <a:ea typeface="Archivo Black"/>
                <a:cs typeface="Archivo Black"/>
                <a:sym typeface="Archivo Black"/>
              </a:defRPr>
            </a:lvl8pPr>
            <a:lvl9pPr lvl="8" rtl="0">
              <a:lnSpc>
                <a:spcPct val="100000"/>
              </a:lnSpc>
              <a:spcBef>
                <a:spcPts val="0"/>
              </a:spcBef>
              <a:spcAft>
                <a:spcPts val="0"/>
              </a:spcAft>
              <a:buNone/>
              <a:defRPr sz="4800">
                <a:solidFill>
                  <a:schemeClr val="lt1"/>
                </a:solidFill>
                <a:latin typeface="Archivo Black"/>
                <a:ea typeface="Archivo Black"/>
                <a:cs typeface="Archivo Black"/>
                <a:sym typeface="Archivo Black"/>
              </a:defRPr>
            </a:lvl9pPr>
          </a:lstStyle>
          <a:p>
            <a:endParaRPr/>
          </a:p>
        </p:txBody>
      </p:sp>
      <p:sp>
        <p:nvSpPr>
          <p:cNvPr id="269" name="Google Shape;269;p14"/>
          <p:cNvSpPr txBox="1">
            <a:spLocks noGrp="1"/>
          </p:cNvSpPr>
          <p:nvPr>
            <p:ph type="subTitle" idx="2"/>
          </p:nvPr>
        </p:nvSpPr>
        <p:spPr>
          <a:xfrm>
            <a:off x="3471900" y="2569150"/>
            <a:ext cx="4646400" cy="1082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None/>
              <a:defRPr sz="2000">
                <a:solidFill>
                  <a:schemeClr val="dk1"/>
                </a:solidFill>
              </a:defRPr>
            </a:lvl1pPr>
            <a:lvl2pPr lvl="1" algn="ctr" rtl="0">
              <a:lnSpc>
                <a:spcPct val="100000"/>
              </a:lnSpc>
              <a:spcBef>
                <a:spcPts val="0"/>
              </a:spcBef>
              <a:spcAft>
                <a:spcPts val="0"/>
              </a:spcAft>
              <a:buNone/>
              <a:defRPr sz="2000">
                <a:solidFill>
                  <a:schemeClr val="dk1"/>
                </a:solidFill>
              </a:defRPr>
            </a:lvl2pPr>
            <a:lvl3pPr lvl="2" algn="ctr" rtl="0">
              <a:lnSpc>
                <a:spcPct val="100000"/>
              </a:lnSpc>
              <a:spcBef>
                <a:spcPts val="0"/>
              </a:spcBef>
              <a:spcAft>
                <a:spcPts val="0"/>
              </a:spcAft>
              <a:buNone/>
              <a:defRPr sz="2000">
                <a:solidFill>
                  <a:schemeClr val="dk1"/>
                </a:solidFill>
              </a:defRPr>
            </a:lvl3pPr>
            <a:lvl4pPr lvl="3" algn="ctr" rtl="0">
              <a:lnSpc>
                <a:spcPct val="100000"/>
              </a:lnSpc>
              <a:spcBef>
                <a:spcPts val="0"/>
              </a:spcBef>
              <a:spcAft>
                <a:spcPts val="0"/>
              </a:spcAft>
              <a:buNone/>
              <a:defRPr sz="2000">
                <a:solidFill>
                  <a:schemeClr val="dk1"/>
                </a:solidFill>
              </a:defRPr>
            </a:lvl4pPr>
            <a:lvl5pPr lvl="4" algn="ctr" rtl="0">
              <a:lnSpc>
                <a:spcPct val="100000"/>
              </a:lnSpc>
              <a:spcBef>
                <a:spcPts val="0"/>
              </a:spcBef>
              <a:spcAft>
                <a:spcPts val="0"/>
              </a:spcAft>
              <a:buNone/>
              <a:defRPr sz="2000">
                <a:solidFill>
                  <a:schemeClr val="dk1"/>
                </a:solidFill>
              </a:defRPr>
            </a:lvl5pPr>
            <a:lvl6pPr lvl="5" algn="ctr" rtl="0">
              <a:lnSpc>
                <a:spcPct val="100000"/>
              </a:lnSpc>
              <a:spcBef>
                <a:spcPts val="0"/>
              </a:spcBef>
              <a:spcAft>
                <a:spcPts val="0"/>
              </a:spcAft>
              <a:buNone/>
              <a:defRPr sz="2000">
                <a:solidFill>
                  <a:schemeClr val="dk1"/>
                </a:solidFill>
              </a:defRPr>
            </a:lvl6pPr>
            <a:lvl7pPr lvl="6" algn="ctr" rtl="0">
              <a:lnSpc>
                <a:spcPct val="100000"/>
              </a:lnSpc>
              <a:spcBef>
                <a:spcPts val="0"/>
              </a:spcBef>
              <a:spcAft>
                <a:spcPts val="0"/>
              </a:spcAft>
              <a:buNone/>
              <a:defRPr sz="2000">
                <a:solidFill>
                  <a:schemeClr val="dk1"/>
                </a:solidFill>
              </a:defRPr>
            </a:lvl7pPr>
            <a:lvl8pPr lvl="7" algn="ctr" rtl="0">
              <a:lnSpc>
                <a:spcPct val="100000"/>
              </a:lnSpc>
              <a:spcBef>
                <a:spcPts val="0"/>
              </a:spcBef>
              <a:spcAft>
                <a:spcPts val="0"/>
              </a:spcAft>
              <a:buNone/>
              <a:defRPr sz="2000">
                <a:solidFill>
                  <a:schemeClr val="dk1"/>
                </a:solidFill>
              </a:defRPr>
            </a:lvl8pPr>
            <a:lvl9pPr lvl="8" algn="ctr" rtl="0">
              <a:lnSpc>
                <a:spcPct val="100000"/>
              </a:lnSpc>
              <a:spcBef>
                <a:spcPts val="0"/>
              </a:spcBef>
              <a:spcAft>
                <a:spcPts val="0"/>
              </a:spcAft>
              <a:buNone/>
              <a:defRPr sz="2000">
                <a:solidFill>
                  <a:schemeClr val="dk1"/>
                </a:solidFill>
              </a:defRPr>
            </a:lvl9pPr>
          </a:lstStyle>
          <a:p>
            <a:endParaRPr/>
          </a:p>
        </p:txBody>
      </p:sp>
      <p:sp>
        <p:nvSpPr>
          <p:cNvPr id="270" name="Google Shape;270;p14"/>
          <p:cNvSpPr txBox="1">
            <a:spLocks noGrp="1"/>
          </p:cNvSpPr>
          <p:nvPr>
            <p:ph type="subTitle" idx="3"/>
          </p:nvPr>
        </p:nvSpPr>
        <p:spPr>
          <a:xfrm>
            <a:off x="4306375" y="3749538"/>
            <a:ext cx="2977500" cy="371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None/>
              <a:defRPr sz="1800">
                <a:solidFill>
                  <a:schemeClr val="dk1"/>
                </a:solidFill>
                <a:latin typeface="Archivo Black"/>
                <a:ea typeface="Archivo Black"/>
                <a:cs typeface="Archivo Black"/>
                <a:sym typeface="Archivo Black"/>
              </a:defRPr>
            </a:lvl1pPr>
            <a:lvl2pPr lvl="1" algn="ctr" rtl="0">
              <a:lnSpc>
                <a:spcPct val="100000"/>
              </a:lnSpc>
              <a:spcBef>
                <a:spcPts val="0"/>
              </a:spcBef>
              <a:spcAft>
                <a:spcPts val="0"/>
              </a:spcAft>
              <a:buNone/>
              <a:defRPr sz="1800">
                <a:solidFill>
                  <a:schemeClr val="dk1"/>
                </a:solidFill>
                <a:latin typeface="Archivo Black"/>
                <a:ea typeface="Archivo Black"/>
                <a:cs typeface="Archivo Black"/>
                <a:sym typeface="Archivo Black"/>
              </a:defRPr>
            </a:lvl2pPr>
            <a:lvl3pPr lvl="2" algn="ctr" rtl="0">
              <a:lnSpc>
                <a:spcPct val="100000"/>
              </a:lnSpc>
              <a:spcBef>
                <a:spcPts val="0"/>
              </a:spcBef>
              <a:spcAft>
                <a:spcPts val="0"/>
              </a:spcAft>
              <a:buNone/>
              <a:defRPr sz="1800">
                <a:solidFill>
                  <a:schemeClr val="dk1"/>
                </a:solidFill>
                <a:latin typeface="Archivo Black"/>
                <a:ea typeface="Archivo Black"/>
                <a:cs typeface="Archivo Black"/>
                <a:sym typeface="Archivo Black"/>
              </a:defRPr>
            </a:lvl3pPr>
            <a:lvl4pPr lvl="3" algn="ctr" rtl="0">
              <a:lnSpc>
                <a:spcPct val="100000"/>
              </a:lnSpc>
              <a:spcBef>
                <a:spcPts val="0"/>
              </a:spcBef>
              <a:spcAft>
                <a:spcPts val="0"/>
              </a:spcAft>
              <a:buNone/>
              <a:defRPr sz="1800">
                <a:solidFill>
                  <a:schemeClr val="dk1"/>
                </a:solidFill>
                <a:latin typeface="Archivo Black"/>
                <a:ea typeface="Archivo Black"/>
                <a:cs typeface="Archivo Black"/>
                <a:sym typeface="Archivo Black"/>
              </a:defRPr>
            </a:lvl4pPr>
            <a:lvl5pPr lvl="4" algn="ctr" rtl="0">
              <a:lnSpc>
                <a:spcPct val="100000"/>
              </a:lnSpc>
              <a:spcBef>
                <a:spcPts val="0"/>
              </a:spcBef>
              <a:spcAft>
                <a:spcPts val="0"/>
              </a:spcAft>
              <a:buNone/>
              <a:defRPr sz="1800">
                <a:solidFill>
                  <a:schemeClr val="dk1"/>
                </a:solidFill>
                <a:latin typeface="Archivo Black"/>
                <a:ea typeface="Archivo Black"/>
                <a:cs typeface="Archivo Black"/>
                <a:sym typeface="Archivo Black"/>
              </a:defRPr>
            </a:lvl5pPr>
            <a:lvl6pPr lvl="5" algn="ctr" rtl="0">
              <a:lnSpc>
                <a:spcPct val="100000"/>
              </a:lnSpc>
              <a:spcBef>
                <a:spcPts val="0"/>
              </a:spcBef>
              <a:spcAft>
                <a:spcPts val="0"/>
              </a:spcAft>
              <a:buNone/>
              <a:defRPr sz="1800">
                <a:solidFill>
                  <a:schemeClr val="dk1"/>
                </a:solidFill>
                <a:latin typeface="Archivo Black"/>
                <a:ea typeface="Archivo Black"/>
                <a:cs typeface="Archivo Black"/>
                <a:sym typeface="Archivo Black"/>
              </a:defRPr>
            </a:lvl6pPr>
            <a:lvl7pPr lvl="6" algn="ctr" rtl="0">
              <a:lnSpc>
                <a:spcPct val="100000"/>
              </a:lnSpc>
              <a:spcBef>
                <a:spcPts val="0"/>
              </a:spcBef>
              <a:spcAft>
                <a:spcPts val="0"/>
              </a:spcAft>
              <a:buNone/>
              <a:defRPr sz="1800">
                <a:solidFill>
                  <a:schemeClr val="dk1"/>
                </a:solidFill>
                <a:latin typeface="Archivo Black"/>
                <a:ea typeface="Archivo Black"/>
                <a:cs typeface="Archivo Black"/>
                <a:sym typeface="Archivo Black"/>
              </a:defRPr>
            </a:lvl7pPr>
            <a:lvl8pPr lvl="7" algn="ctr" rtl="0">
              <a:lnSpc>
                <a:spcPct val="100000"/>
              </a:lnSpc>
              <a:spcBef>
                <a:spcPts val="0"/>
              </a:spcBef>
              <a:spcAft>
                <a:spcPts val="0"/>
              </a:spcAft>
              <a:buNone/>
              <a:defRPr sz="1800">
                <a:solidFill>
                  <a:schemeClr val="dk1"/>
                </a:solidFill>
                <a:latin typeface="Archivo Black"/>
                <a:ea typeface="Archivo Black"/>
                <a:cs typeface="Archivo Black"/>
                <a:sym typeface="Archivo Black"/>
              </a:defRPr>
            </a:lvl8pPr>
            <a:lvl9pPr lvl="8" algn="ctr" rtl="0">
              <a:lnSpc>
                <a:spcPct val="100000"/>
              </a:lnSpc>
              <a:spcBef>
                <a:spcPts val="0"/>
              </a:spcBef>
              <a:spcAft>
                <a:spcPts val="0"/>
              </a:spcAft>
              <a:buNone/>
              <a:defRPr sz="1800">
                <a:solidFill>
                  <a:schemeClr val="dk1"/>
                </a:solidFill>
                <a:latin typeface="Archivo Black"/>
                <a:ea typeface="Archivo Black"/>
                <a:cs typeface="Archivo Black"/>
                <a:sym typeface="Archivo Black"/>
              </a:defRPr>
            </a:lvl9pPr>
          </a:lstStyle>
          <a:p>
            <a:endParaRPr/>
          </a:p>
        </p:txBody>
      </p:sp>
      <p:sp>
        <p:nvSpPr>
          <p:cNvPr id="271" name="Google Shape;271;p14"/>
          <p:cNvSpPr txBox="1">
            <a:spLocks noGrp="1"/>
          </p:cNvSpPr>
          <p:nvPr>
            <p:ph type="subTitle" idx="4"/>
          </p:nvPr>
        </p:nvSpPr>
        <p:spPr>
          <a:xfrm>
            <a:off x="713400" y="1209025"/>
            <a:ext cx="2031000" cy="6126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None/>
              <a:defRPr sz="1600">
                <a:solidFill>
                  <a:schemeClr val="lt1"/>
                </a:solidFill>
              </a:defRPr>
            </a:lvl1pPr>
            <a:lvl2pPr lvl="1" rtl="0">
              <a:lnSpc>
                <a:spcPct val="100000"/>
              </a:lnSpc>
              <a:spcBef>
                <a:spcPts val="0"/>
              </a:spcBef>
              <a:spcAft>
                <a:spcPts val="0"/>
              </a:spcAft>
              <a:buNone/>
              <a:defRPr sz="1600">
                <a:solidFill>
                  <a:schemeClr val="lt1"/>
                </a:solidFill>
              </a:defRPr>
            </a:lvl2pPr>
            <a:lvl3pPr lvl="2" rtl="0">
              <a:lnSpc>
                <a:spcPct val="100000"/>
              </a:lnSpc>
              <a:spcBef>
                <a:spcPts val="0"/>
              </a:spcBef>
              <a:spcAft>
                <a:spcPts val="0"/>
              </a:spcAft>
              <a:buNone/>
              <a:defRPr sz="1600">
                <a:solidFill>
                  <a:schemeClr val="lt1"/>
                </a:solidFill>
              </a:defRPr>
            </a:lvl3pPr>
            <a:lvl4pPr lvl="3" rtl="0">
              <a:lnSpc>
                <a:spcPct val="100000"/>
              </a:lnSpc>
              <a:spcBef>
                <a:spcPts val="0"/>
              </a:spcBef>
              <a:spcAft>
                <a:spcPts val="0"/>
              </a:spcAft>
              <a:buNone/>
              <a:defRPr sz="1600">
                <a:solidFill>
                  <a:schemeClr val="lt1"/>
                </a:solidFill>
              </a:defRPr>
            </a:lvl4pPr>
            <a:lvl5pPr lvl="4" rtl="0">
              <a:lnSpc>
                <a:spcPct val="100000"/>
              </a:lnSpc>
              <a:spcBef>
                <a:spcPts val="0"/>
              </a:spcBef>
              <a:spcAft>
                <a:spcPts val="0"/>
              </a:spcAft>
              <a:buNone/>
              <a:defRPr sz="1600">
                <a:solidFill>
                  <a:schemeClr val="lt1"/>
                </a:solidFill>
              </a:defRPr>
            </a:lvl5pPr>
            <a:lvl6pPr lvl="5" rtl="0">
              <a:lnSpc>
                <a:spcPct val="100000"/>
              </a:lnSpc>
              <a:spcBef>
                <a:spcPts val="0"/>
              </a:spcBef>
              <a:spcAft>
                <a:spcPts val="0"/>
              </a:spcAft>
              <a:buNone/>
              <a:defRPr sz="1600">
                <a:solidFill>
                  <a:schemeClr val="lt1"/>
                </a:solidFill>
              </a:defRPr>
            </a:lvl6pPr>
            <a:lvl7pPr lvl="6" rtl="0">
              <a:lnSpc>
                <a:spcPct val="100000"/>
              </a:lnSpc>
              <a:spcBef>
                <a:spcPts val="0"/>
              </a:spcBef>
              <a:spcAft>
                <a:spcPts val="0"/>
              </a:spcAft>
              <a:buNone/>
              <a:defRPr sz="1600">
                <a:solidFill>
                  <a:schemeClr val="lt1"/>
                </a:solidFill>
              </a:defRPr>
            </a:lvl7pPr>
            <a:lvl8pPr lvl="7" rtl="0">
              <a:lnSpc>
                <a:spcPct val="100000"/>
              </a:lnSpc>
              <a:spcBef>
                <a:spcPts val="0"/>
              </a:spcBef>
              <a:spcAft>
                <a:spcPts val="0"/>
              </a:spcAft>
              <a:buNone/>
              <a:defRPr sz="1600">
                <a:solidFill>
                  <a:schemeClr val="lt1"/>
                </a:solidFill>
              </a:defRPr>
            </a:lvl8pPr>
            <a:lvl9pPr lvl="8" rtl="0">
              <a:lnSpc>
                <a:spcPct val="100000"/>
              </a:lnSpc>
              <a:spcBef>
                <a:spcPts val="0"/>
              </a:spcBef>
              <a:spcAft>
                <a:spcPts val="0"/>
              </a:spcAft>
              <a:buNone/>
              <a:defRPr sz="1600">
                <a:solidFill>
                  <a:schemeClr val="lt1"/>
                </a:solidFill>
              </a:defRPr>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only">
  <p:cSld name="CUSTOM_15">
    <p:spTree>
      <p:nvGrpSpPr>
        <p:cNvPr id="1" name="Shape 272"/>
        <p:cNvGrpSpPr/>
        <p:nvPr/>
      </p:nvGrpSpPr>
      <p:grpSpPr>
        <a:xfrm>
          <a:off x="0" y="0"/>
          <a:ext cx="0" cy="0"/>
          <a:chOff x="0" y="0"/>
          <a:chExt cx="0" cy="0"/>
        </a:xfrm>
      </p:grpSpPr>
      <p:sp>
        <p:nvSpPr>
          <p:cNvPr id="273" name="Google Shape;273;p15"/>
          <p:cNvSpPr txBox="1">
            <a:spLocks noGrp="1"/>
          </p:cNvSpPr>
          <p:nvPr>
            <p:ph type="title"/>
          </p:nvPr>
        </p:nvSpPr>
        <p:spPr>
          <a:xfrm>
            <a:off x="713400" y="381209"/>
            <a:ext cx="77172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and text">
  <p:cSld name="CUSTOM_2">
    <p:spTree>
      <p:nvGrpSpPr>
        <p:cNvPr id="1" name="Shape 274"/>
        <p:cNvGrpSpPr/>
        <p:nvPr/>
      </p:nvGrpSpPr>
      <p:grpSpPr>
        <a:xfrm>
          <a:off x="0" y="0"/>
          <a:ext cx="0" cy="0"/>
          <a:chOff x="0" y="0"/>
          <a:chExt cx="0" cy="0"/>
        </a:xfrm>
      </p:grpSpPr>
      <p:sp>
        <p:nvSpPr>
          <p:cNvPr id="275" name="Google Shape;275;p16"/>
          <p:cNvSpPr txBox="1">
            <a:spLocks noGrp="1"/>
          </p:cNvSpPr>
          <p:nvPr>
            <p:ph type="title"/>
          </p:nvPr>
        </p:nvSpPr>
        <p:spPr>
          <a:xfrm>
            <a:off x="713400" y="1048950"/>
            <a:ext cx="2193600" cy="18900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6" name="Google Shape;276;p16"/>
          <p:cNvSpPr txBox="1">
            <a:spLocks noGrp="1"/>
          </p:cNvSpPr>
          <p:nvPr>
            <p:ph type="body" idx="1"/>
          </p:nvPr>
        </p:nvSpPr>
        <p:spPr>
          <a:xfrm>
            <a:off x="3283500" y="735300"/>
            <a:ext cx="5307300" cy="2517300"/>
          </a:xfrm>
          <a:prstGeom prst="rect">
            <a:avLst/>
          </a:prstGeom>
        </p:spPr>
        <p:txBody>
          <a:bodyPr spcFirstLastPara="1" wrap="square" lIns="91425" tIns="91425" rIns="91425" bIns="91425" anchor="t" anchorCtr="0">
            <a:noAutofit/>
          </a:bodyPr>
          <a:lstStyle>
            <a:lvl1pPr marL="457200" lvl="0" indent="-330200" rtl="0">
              <a:lnSpc>
                <a:spcPct val="100000"/>
              </a:lnSpc>
              <a:spcBef>
                <a:spcPts val="0"/>
              </a:spcBef>
              <a:spcAft>
                <a:spcPts val="0"/>
              </a:spcAft>
              <a:buClr>
                <a:schemeClr val="accent2"/>
              </a:buClr>
              <a:buSzPts val="1600"/>
              <a:buChar char="●"/>
              <a:defRPr sz="1600"/>
            </a:lvl1pPr>
            <a:lvl2pPr marL="914400" lvl="1" indent="-330200" rtl="0">
              <a:spcBef>
                <a:spcPts val="0"/>
              </a:spcBef>
              <a:spcAft>
                <a:spcPts val="0"/>
              </a:spcAft>
              <a:buSzPts val="1600"/>
              <a:buChar char="○"/>
              <a:defRPr sz="1600"/>
            </a:lvl2pPr>
            <a:lvl3pPr marL="1371600" lvl="2" indent="-330200" rtl="0">
              <a:spcBef>
                <a:spcPts val="0"/>
              </a:spcBef>
              <a:spcAft>
                <a:spcPts val="0"/>
              </a:spcAft>
              <a:buSzPts val="1600"/>
              <a:buChar char="■"/>
              <a:defRPr sz="1600"/>
            </a:lvl3pPr>
            <a:lvl4pPr marL="1828800" lvl="3" indent="-330200" rtl="0">
              <a:spcBef>
                <a:spcPts val="0"/>
              </a:spcBef>
              <a:spcAft>
                <a:spcPts val="0"/>
              </a:spcAft>
              <a:buSzPts val="1600"/>
              <a:buChar char="●"/>
              <a:defRPr sz="1600"/>
            </a:lvl4pPr>
            <a:lvl5pPr marL="2286000" lvl="4" indent="-330200" rtl="0">
              <a:spcBef>
                <a:spcPts val="0"/>
              </a:spcBef>
              <a:spcAft>
                <a:spcPts val="0"/>
              </a:spcAft>
              <a:buSzPts val="1600"/>
              <a:buChar char="○"/>
              <a:defRPr sz="1600"/>
            </a:lvl5pPr>
            <a:lvl6pPr marL="2743200" lvl="5" indent="-330200" rtl="0">
              <a:spcBef>
                <a:spcPts val="0"/>
              </a:spcBef>
              <a:spcAft>
                <a:spcPts val="0"/>
              </a:spcAft>
              <a:buSzPts val="1600"/>
              <a:buChar char="■"/>
              <a:defRPr sz="1600"/>
            </a:lvl6pPr>
            <a:lvl7pPr marL="3200400" lvl="6" indent="-330200" rtl="0">
              <a:spcBef>
                <a:spcPts val="0"/>
              </a:spcBef>
              <a:spcAft>
                <a:spcPts val="0"/>
              </a:spcAft>
              <a:buSzPts val="1600"/>
              <a:buChar char="●"/>
              <a:defRPr sz="1600"/>
            </a:lvl7pPr>
            <a:lvl8pPr marL="3657600" lvl="7" indent="-330200" rtl="0">
              <a:spcBef>
                <a:spcPts val="0"/>
              </a:spcBef>
              <a:spcAft>
                <a:spcPts val="0"/>
              </a:spcAft>
              <a:buSzPts val="1600"/>
              <a:buChar char="○"/>
              <a:defRPr sz="1600"/>
            </a:lvl8pPr>
            <a:lvl9pPr marL="4114800" lvl="8" indent="-330200" rtl="0">
              <a:spcBef>
                <a:spcPts val="0"/>
              </a:spcBef>
              <a:spcAft>
                <a:spcPts val="0"/>
              </a:spcAft>
              <a:buSzPts val="1600"/>
              <a:buChar char="■"/>
              <a:defRPr sz="1600"/>
            </a:lvl9pPr>
          </a:lstStyle>
          <a:p>
            <a:endParaRPr/>
          </a:p>
        </p:txBody>
      </p:sp>
      <p:grpSp>
        <p:nvGrpSpPr>
          <p:cNvPr id="277" name="Google Shape;277;p16"/>
          <p:cNvGrpSpPr/>
          <p:nvPr/>
        </p:nvGrpSpPr>
        <p:grpSpPr>
          <a:xfrm>
            <a:off x="75" y="4006789"/>
            <a:ext cx="9144000" cy="1136663"/>
            <a:chOff x="75" y="4289316"/>
            <a:chExt cx="9144000" cy="854184"/>
          </a:xfrm>
        </p:grpSpPr>
        <p:sp>
          <p:nvSpPr>
            <p:cNvPr id="278" name="Google Shape;278;p16"/>
            <p:cNvSpPr/>
            <p:nvPr/>
          </p:nvSpPr>
          <p:spPr>
            <a:xfrm>
              <a:off x="75" y="4289316"/>
              <a:ext cx="9144000" cy="289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 name="Google Shape;279;p16"/>
            <p:cNvSpPr/>
            <p:nvPr/>
          </p:nvSpPr>
          <p:spPr>
            <a:xfrm>
              <a:off x="75" y="4571658"/>
              <a:ext cx="9144000" cy="289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 name="Google Shape;280;p16"/>
            <p:cNvSpPr/>
            <p:nvPr/>
          </p:nvSpPr>
          <p:spPr>
            <a:xfrm>
              <a:off x="75" y="4854000"/>
              <a:ext cx="9144000" cy="2895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blipFill>
          <a:blip r:embed="rId15">
            <a:alphaModFix/>
          </a:blip>
          <a:stretch>
            <a:fillRect/>
          </a:stretch>
        </a:blip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713400" y="381209"/>
            <a:ext cx="77172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lt1"/>
              </a:buClr>
              <a:buSzPts val="2800"/>
              <a:buFont typeface="Archivo Black"/>
              <a:buNone/>
              <a:defRPr sz="2800">
                <a:solidFill>
                  <a:schemeClr val="lt1"/>
                </a:solidFill>
                <a:latin typeface="Archivo Black"/>
                <a:ea typeface="Archivo Black"/>
                <a:cs typeface="Archivo Black"/>
                <a:sym typeface="Archivo Black"/>
              </a:defRPr>
            </a:lvl1pPr>
            <a:lvl2pPr lvl="1">
              <a:spcBef>
                <a:spcPts val="0"/>
              </a:spcBef>
              <a:spcAft>
                <a:spcPts val="0"/>
              </a:spcAft>
              <a:buClr>
                <a:schemeClr val="lt1"/>
              </a:buClr>
              <a:buSzPts val="2800"/>
              <a:buFont typeface="Archivo Black"/>
              <a:buNone/>
              <a:defRPr sz="2800">
                <a:solidFill>
                  <a:schemeClr val="lt1"/>
                </a:solidFill>
                <a:latin typeface="Archivo Black"/>
                <a:ea typeface="Archivo Black"/>
                <a:cs typeface="Archivo Black"/>
                <a:sym typeface="Archivo Black"/>
              </a:defRPr>
            </a:lvl2pPr>
            <a:lvl3pPr lvl="2">
              <a:spcBef>
                <a:spcPts val="0"/>
              </a:spcBef>
              <a:spcAft>
                <a:spcPts val="0"/>
              </a:spcAft>
              <a:buClr>
                <a:schemeClr val="lt1"/>
              </a:buClr>
              <a:buSzPts val="2800"/>
              <a:buFont typeface="Archivo Black"/>
              <a:buNone/>
              <a:defRPr sz="2800">
                <a:solidFill>
                  <a:schemeClr val="lt1"/>
                </a:solidFill>
                <a:latin typeface="Archivo Black"/>
                <a:ea typeface="Archivo Black"/>
                <a:cs typeface="Archivo Black"/>
                <a:sym typeface="Archivo Black"/>
              </a:defRPr>
            </a:lvl3pPr>
            <a:lvl4pPr lvl="3">
              <a:spcBef>
                <a:spcPts val="0"/>
              </a:spcBef>
              <a:spcAft>
                <a:spcPts val="0"/>
              </a:spcAft>
              <a:buClr>
                <a:schemeClr val="lt1"/>
              </a:buClr>
              <a:buSzPts val="2800"/>
              <a:buFont typeface="Archivo Black"/>
              <a:buNone/>
              <a:defRPr sz="2800">
                <a:solidFill>
                  <a:schemeClr val="lt1"/>
                </a:solidFill>
                <a:latin typeface="Archivo Black"/>
                <a:ea typeface="Archivo Black"/>
                <a:cs typeface="Archivo Black"/>
                <a:sym typeface="Archivo Black"/>
              </a:defRPr>
            </a:lvl4pPr>
            <a:lvl5pPr lvl="4">
              <a:spcBef>
                <a:spcPts val="0"/>
              </a:spcBef>
              <a:spcAft>
                <a:spcPts val="0"/>
              </a:spcAft>
              <a:buClr>
                <a:schemeClr val="lt1"/>
              </a:buClr>
              <a:buSzPts val="2800"/>
              <a:buFont typeface="Archivo Black"/>
              <a:buNone/>
              <a:defRPr sz="2800">
                <a:solidFill>
                  <a:schemeClr val="lt1"/>
                </a:solidFill>
                <a:latin typeface="Archivo Black"/>
                <a:ea typeface="Archivo Black"/>
                <a:cs typeface="Archivo Black"/>
                <a:sym typeface="Archivo Black"/>
              </a:defRPr>
            </a:lvl5pPr>
            <a:lvl6pPr lvl="5">
              <a:spcBef>
                <a:spcPts val="0"/>
              </a:spcBef>
              <a:spcAft>
                <a:spcPts val="0"/>
              </a:spcAft>
              <a:buClr>
                <a:schemeClr val="lt1"/>
              </a:buClr>
              <a:buSzPts val="2800"/>
              <a:buFont typeface="Archivo Black"/>
              <a:buNone/>
              <a:defRPr sz="2800">
                <a:solidFill>
                  <a:schemeClr val="lt1"/>
                </a:solidFill>
                <a:latin typeface="Archivo Black"/>
                <a:ea typeface="Archivo Black"/>
                <a:cs typeface="Archivo Black"/>
                <a:sym typeface="Archivo Black"/>
              </a:defRPr>
            </a:lvl6pPr>
            <a:lvl7pPr lvl="6">
              <a:spcBef>
                <a:spcPts val="0"/>
              </a:spcBef>
              <a:spcAft>
                <a:spcPts val="0"/>
              </a:spcAft>
              <a:buClr>
                <a:schemeClr val="lt1"/>
              </a:buClr>
              <a:buSzPts val="2800"/>
              <a:buFont typeface="Archivo Black"/>
              <a:buNone/>
              <a:defRPr sz="2800">
                <a:solidFill>
                  <a:schemeClr val="lt1"/>
                </a:solidFill>
                <a:latin typeface="Archivo Black"/>
                <a:ea typeface="Archivo Black"/>
                <a:cs typeface="Archivo Black"/>
                <a:sym typeface="Archivo Black"/>
              </a:defRPr>
            </a:lvl7pPr>
            <a:lvl8pPr lvl="7">
              <a:spcBef>
                <a:spcPts val="0"/>
              </a:spcBef>
              <a:spcAft>
                <a:spcPts val="0"/>
              </a:spcAft>
              <a:buClr>
                <a:schemeClr val="lt1"/>
              </a:buClr>
              <a:buSzPts val="2800"/>
              <a:buFont typeface="Archivo Black"/>
              <a:buNone/>
              <a:defRPr sz="2800">
                <a:solidFill>
                  <a:schemeClr val="lt1"/>
                </a:solidFill>
                <a:latin typeface="Archivo Black"/>
                <a:ea typeface="Archivo Black"/>
                <a:cs typeface="Archivo Black"/>
                <a:sym typeface="Archivo Black"/>
              </a:defRPr>
            </a:lvl8pPr>
            <a:lvl9pPr lvl="8">
              <a:spcBef>
                <a:spcPts val="0"/>
              </a:spcBef>
              <a:spcAft>
                <a:spcPts val="0"/>
              </a:spcAft>
              <a:buClr>
                <a:schemeClr val="lt1"/>
              </a:buClr>
              <a:buSzPts val="2800"/>
              <a:buFont typeface="Archivo Black"/>
              <a:buNone/>
              <a:defRPr sz="2800">
                <a:solidFill>
                  <a:schemeClr val="lt1"/>
                </a:solidFill>
                <a:latin typeface="Archivo Black"/>
                <a:ea typeface="Archivo Black"/>
                <a:cs typeface="Archivo Black"/>
                <a:sym typeface="Archivo Black"/>
              </a:defRPr>
            </a:lvl9pPr>
          </a:lstStyle>
          <a:p>
            <a:endParaRPr/>
          </a:p>
        </p:txBody>
      </p:sp>
      <p:sp>
        <p:nvSpPr>
          <p:cNvPr id="7" name="Google Shape;7;p1"/>
          <p:cNvSpPr txBox="1">
            <a:spLocks noGrp="1"/>
          </p:cNvSpPr>
          <p:nvPr>
            <p:ph type="body" idx="1"/>
          </p:nvPr>
        </p:nvSpPr>
        <p:spPr>
          <a:xfrm>
            <a:off x="713400" y="1152475"/>
            <a:ext cx="7717200" cy="3416400"/>
          </a:xfrm>
          <a:prstGeom prst="rect">
            <a:avLst/>
          </a:prstGeom>
          <a:noFill/>
          <a:ln>
            <a:noFill/>
          </a:ln>
        </p:spPr>
        <p:txBody>
          <a:bodyPr spcFirstLastPara="1" wrap="square" lIns="91425" tIns="91425" rIns="91425" bIns="91425" anchor="t" anchorCtr="0">
            <a:noAutofit/>
          </a:bodyPr>
          <a:lstStyle>
            <a:lvl1pPr marL="457200" lvl="0" indent="-342900">
              <a:lnSpc>
                <a:spcPct val="100000"/>
              </a:lnSpc>
              <a:spcBef>
                <a:spcPts val="0"/>
              </a:spcBef>
              <a:spcAft>
                <a:spcPts val="0"/>
              </a:spcAft>
              <a:buClr>
                <a:schemeClr val="lt1"/>
              </a:buClr>
              <a:buSzPts val="1800"/>
              <a:buFont typeface="Roboto"/>
              <a:buChar char="●"/>
              <a:defRPr sz="1800">
                <a:solidFill>
                  <a:schemeClr val="lt1"/>
                </a:solidFill>
                <a:latin typeface="Roboto"/>
                <a:ea typeface="Roboto"/>
                <a:cs typeface="Roboto"/>
                <a:sym typeface="Roboto"/>
              </a:defRPr>
            </a:lvl1pPr>
            <a:lvl2pPr marL="914400" lvl="1" indent="-317500">
              <a:lnSpc>
                <a:spcPct val="100000"/>
              </a:lnSpc>
              <a:spcBef>
                <a:spcPts val="0"/>
              </a:spcBef>
              <a:spcAft>
                <a:spcPts val="0"/>
              </a:spcAft>
              <a:buClr>
                <a:schemeClr val="lt1"/>
              </a:buClr>
              <a:buSzPts val="1400"/>
              <a:buFont typeface="Roboto"/>
              <a:buChar char="○"/>
              <a:defRPr>
                <a:solidFill>
                  <a:schemeClr val="lt1"/>
                </a:solidFill>
                <a:latin typeface="Roboto"/>
                <a:ea typeface="Roboto"/>
                <a:cs typeface="Roboto"/>
                <a:sym typeface="Roboto"/>
              </a:defRPr>
            </a:lvl2pPr>
            <a:lvl3pPr marL="1371600" lvl="2" indent="-317500">
              <a:lnSpc>
                <a:spcPct val="100000"/>
              </a:lnSpc>
              <a:spcBef>
                <a:spcPts val="0"/>
              </a:spcBef>
              <a:spcAft>
                <a:spcPts val="0"/>
              </a:spcAft>
              <a:buClr>
                <a:schemeClr val="lt1"/>
              </a:buClr>
              <a:buSzPts val="1400"/>
              <a:buFont typeface="Roboto"/>
              <a:buChar char="■"/>
              <a:defRPr>
                <a:solidFill>
                  <a:schemeClr val="lt1"/>
                </a:solidFill>
                <a:latin typeface="Roboto"/>
                <a:ea typeface="Roboto"/>
                <a:cs typeface="Roboto"/>
                <a:sym typeface="Roboto"/>
              </a:defRPr>
            </a:lvl3pPr>
            <a:lvl4pPr marL="1828800" lvl="3" indent="-317500">
              <a:lnSpc>
                <a:spcPct val="100000"/>
              </a:lnSpc>
              <a:spcBef>
                <a:spcPts val="0"/>
              </a:spcBef>
              <a:spcAft>
                <a:spcPts val="0"/>
              </a:spcAft>
              <a:buClr>
                <a:schemeClr val="lt1"/>
              </a:buClr>
              <a:buSzPts val="1400"/>
              <a:buFont typeface="Roboto"/>
              <a:buChar char="●"/>
              <a:defRPr>
                <a:solidFill>
                  <a:schemeClr val="lt1"/>
                </a:solidFill>
                <a:latin typeface="Roboto"/>
                <a:ea typeface="Roboto"/>
                <a:cs typeface="Roboto"/>
                <a:sym typeface="Roboto"/>
              </a:defRPr>
            </a:lvl4pPr>
            <a:lvl5pPr marL="2286000" lvl="4" indent="-317500">
              <a:lnSpc>
                <a:spcPct val="100000"/>
              </a:lnSpc>
              <a:spcBef>
                <a:spcPts val="0"/>
              </a:spcBef>
              <a:spcAft>
                <a:spcPts val="0"/>
              </a:spcAft>
              <a:buClr>
                <a:schemeClr val="lt1"/>
              </a:buClr>
              <a:buSzPts val="1400"/>
              <a:buFont typeface="Roboto"/>
              <a:buChar char="○"/>
              <a:defRPr>
                <a:solidFill>
                  <a:schemeClr val="lt1"/>
                </a:solidFill>
                <a:latin typeface="Roboto"/>
                <a:ea typeface="Roboto"/>
                <a:cs typeface="Roboto"/>
                <a:sym typeface="Roboto"/>
              </a:defRPr>
            </a:lvl5pPr>
            <a:lvl6pPr marL="2743200" lvl="5" indent="-317500">
              <a:lnSpc>
                <a:spcPct val="100000"/>
              </a:lnSpc>
              <a:spcBef>
                <a:spcPts val="0"/>
              </a:spcBef>
              <a:spcAft>
                <a:spcPts val="0"/>
              </a:spcAft>
              <a:buClr>
                <a:schemeClr val="lt1"/>
              </a:buClr>
              <a:buSzPts val="1400"/>
              <a:buFont typeface="Roboto"/>
              <a:buChar char="■"/>
              <a:defRPr>
                <a:solidFill>
                  <a:schemeClr val="lt1"/>
                </a:solidFill>
                <a:latin typeface="Roboto"/>
                <a:ea typeface="Roboto"/>
                <a:cs typeface="Roboto"/>
                <a:sym typeface="Roboto"/>
              </a:defRPr>
            </a:lvl6pPr>
            <a:lvl7pPr marL="3200400" lvl="6" indent="-317500">
              <a:lnSpc>
                <a:spcPct val="100000"/>
              </a:lnSpc>
              <a:spcBef>
                <a:spcPts val="0"/>
              </a:spcBef>
              <a:spcAft>
                <a:spcPts val="0"/>
              </a:spcAft>
              <a:buClr>
                <a:schemeClr val="lt1"/>
              </a:buClr>
              <a:buSzPts val="1400"/>
              <a:buFont typeface="Roboto"/>
              <a:buChar char="●"/>
              <a:defRPr>
                <a:solidFill>
                  <a:schemeClr val="lt1"/>
                </a:solidFill>
                <a:latin typeface="Roboto"/>
                <a:ea typeface="Roboto"/>
                <a:cs typeface="Roboto"/>
                <a:sym typeface="Roboto"/>
              </a:defRPr>
            </a:lvl7pPr>
            <a:lvl8pPr marL="3657600" lvl="7" indent="-317500">
              <a:lnSpc>
                <a:spcPct val="100000"/>
              </a:lnSpc>
              <a:spcBef>
                <a:spcPts val="0"/>
              </a:spcBef>
              <a:spcAft>
                <a:spcPts val="0"/>
              </a:spcAft>
              <a:buClr>
                <a:schemeClr val="lt1"/>
              </a:buClr>
              <a:buSzPts val="1400"/>
              <a:buFont typeface="Roboto"/>
              <a:buChar char="○"/>
              <a:defRPr>
                <a:solidFill>
                  <a:schemeClr val="lt1"/>
                </a:solidFill>
                <a:latin typeface="Roboto"/>
                <a:ea typeface="Roboto"/>
                <a:cs typeface="Roboto"/>
                <a:sym typeface="Roboto"/>
              </a:defRPr>
            </a:lvl8pPr>
            <a:lvl9pPr marL="4114800" lvl="8" indent="-317500">
              <a:lnSpc>
                <a:spcPct val="100000"/>
              </a:lnSpc>
              <a:spcBef>
                <a:spcPts val="0"/>
              </a:spcBef>
              <a:spcAft>
                <a:spcPts val="0"/>
              </a:spcAft>
              <a:buClr>
                <a:schemeClr val="lt1"/>
              </a:buClr>
              <a:buSzPts val="1400"/>
              <a:buFont typeface="Roboto"/>
              <a:buChar char="■"/>
              <a:defRPr>
                <a:solidFill>
                  <a:schemeClr val="lt1"/>
                </a:solidFill>
                <a:latin typeface="Roboto"/>
                <a:ea typeface="Roboto"/>
                <a:cs typeface="Roboto"/>
                <a:sym typeface="Roboto"/>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1" r:id="rId3"/>
    <p:sldLayoutId id="2147483652" r:id="rId4"/>
    <p:sldLayoutId id="2147483653" r:id="rId5"/>
    <p:sldLayoutId id="2147483658" r:id="rId6"/>
    <p:sldLayoutId id="2147483660" r:id="rId7"/>
    <p:sldLayoutId id="2147483661" r:id="rId8"/>
    <p:sldLayoutId id="2147483662" r:id="rId9"/>
    <p:sldLayoutId id="2147483667" r:id="rId10"/>
    <p:sldLayoutId id="2147483673" r:id="rId11"/>
    <p:sldLayoutId id="2147483675" r:id="rId12"/>
    <p:sldLayoutId id="2147483676" r:id="rId1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455">
          <p15:clr>
            <a:srgbClr val="EA4335"/>
          </p15:clr>
        </p15:guide>
        <p15:guide id="2" pos="5311">
          <p15:clr>
            <a:srgbClr val="EA4335"/>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6.xml"/><Relationship Id="rId1" Type="http://schemas.openxmlformats.org/officeDocument/2006/relationships/video" Target="https://www.youtube.com/embed/WrIwfImLXOA?feature=oembed" TargetMode="External"/><Relationship Id="rId5" Type="http://schemas.openxmlformats.org/officeDocument/2006/relationships/image" Target="../media/image11.jpe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xml"/><Relationship Id="rId1" Type="http://schemas.openxmlformats.org/officeDocument/2006/relationships/video" Target="https://www.youtube.com/embed/ACN3dw-ywAU?feature=oembed" TargetMode="External"/><Relationship Id="rId5" Type="http://schemas.openxmlformats.org/officeDocument/2006/relationships/image" Target="../media/image12.jpe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xml"/><Relationship Id="rId1" Type="http://schemas.openxmlformats.org/officeDocument/2006/relationships/video" Target="https://www.youtube.com/embed/rYFB7_0MvHo?feature=oembed" TargetMode="External"/><Relationship Id="rId5" Type="http://schemas.openxmlformats.org/officeDocument/2006/relationships/image" Target="../media/image13.jpe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15.webp"/><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5.webp"/><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hyperlink" Target="https://www.youtube.com/watch?v=R9FUEScjB1U&amp;ab_channel=StudioBinder" TargetMode="External"/><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8" Type="http://schemas.openxmlformats.org/officeDocument/2006/relationships/hyperlink" Target="https://www.youtube.com/channel/UCCYX4s1DCn51Hpf1peHS30Q" TargetMode="External"/><Relationship Id="rId3" Type="http://schemas.openxmlformats.org/officeDocument/2006/relationships/slideLayout" Target="../slideLayouts/slideLayout9.xml"/><Relationship Id="rId7" Type="http://schemas.openxmlformats.org/officeDocument/2006/relationships/hyperlink" Target="https://www.youtube.com/channel/UCVjsbqKtxkLt7bal4NWRjJQ" TargetMode="External"/><Relationship Id="rId2" Type="http://schemas.openxmlformats.org/officeDocument/2006/relationships/tags" Target="../tags/tag9.xml"/><Relationship Id="rId1" Type="http://schemas.openxmlformats.org/officeDocument/2006/relationships/video" Target="https://www.youtube.com/embed/u8d4xIgLKl8?feature=oembed" TargetMode="External"/><Relationship Id="rId6" Type="http://schemas.openxmlformats.org/officeDocument/2006/relationships/hyperlink" Target="https://www.youtube.com/channel/UCL8h3ri2WN_-IbviBlWtUcQ" TargetMode="External"/><Relationship Id="rId5" Type="http://schemas.openxmlformats.org/officeDocument/2006/relationships/hyperlink" Target="https://www.youtube.com/user/CinemaSins" TargetMode="External"/><Relationship Id="rId4" Type="http://schemas.openxmlformats.org/officeDocument/2006/relationships/notesSlide" Target="../notesSlides/notesSlide18.xml"/><Relationship Id="rId9" Type="http://schemas.openxmlformats.org/officeDocument/2006/relationships/image" Target="../media/image16.jpe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xml"/><Relationship Id="rId1" Type="http://schemas.openxmlformats.org/officeDocument/2006/relationships/video" Target="https://www.youtube.com/embed/ssSJ-RNDk9g?feature=oembed" TargetMode="External"/><Relationship Id="rId6" Type="http://schemas.openxmlformats.org/officeDocument/2006/relationships/hyperlink" Target="https://i.pinimg.com/originals/98/e6/9d/98e69d7e437d2ff32d84f23246bdcd4b.jpg" TargetMode="External"/><Relationship Id="rId5" Type="http://schemas.openxmlformats.org/officeDocument/2006/relationships/image" Target="../media/image2.jpe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4.gif"/><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video" Target="https://www.youtube.com/embed/DyqjTZHRdRs?feature=oembed" TargetMode="External"/><Relationship Id="rId6" Type="http://schemas.openxmlformats.org/officeDocument/2006/relationships/image" Target="../media/image5.jpeg"/><Relationship Id="rId5" Type="http://schemas.openxmlformats.org/officeDocument/2006/relationships/hyperlink" Target="http://www.steves-digicams.com/knowledge-center/how-tos/buying-selling/the-difference-between-ntsc-and-pal.html#b" TargetMode="External"/><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video" Target="https://www.youtube.com/embed/5eu_KjKsnpM?start=124&amp;feature=oembed" TargetMode="External"/><Relationship Id="rId6" Type="http://schemas.openxmlformats.org/officeDocument/2006/relationships/image" Target="../media/image7.jpeg"/><Relationship Id="rId5" Type="http://schemas.openxmlformats.org/officeDocument/2006/relationships/image" Target="../media/image6.gif"/><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video" Target="https://www.youtube.com/embed/1unkluyh2Ks?feature=oembed" TargetMode="External"/><Relationship Id="rId6" Type="http://schemas.openxmlformats.org/officeDocument/2006/relationships/image" Target="../media/image9.jpeg"/><Relationship Id="rId5" Type="http://schemas.openxmlformats.org/officeDocument/2006/relationships/image" Target="../media/image8.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xml"/><Relationship Id="rId1" Type="http://schemas.openxmlformats.org/officeDocument/2006/relationships/video" Target="https://www.youtube.com/embed/TPqCKMTDCVs?feature=oembed" TargetMode="External"/><Relationship Id="rId5" Type="http://schemas.openxmlformats.org/officeDocument/2006/relationships/image" Target="../media/image10.jpe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58"/>
        <p:cNvGrpSpPr/>
        <p:nvPr/>
      </p:nvGrpSpPr>
      <p:grpSpPr>
        <a:xfrm>
          <a:off x="0" y="0"/>
          <a:ext cx="0" cy="0"/>
          <a:chOff x="0" y="0"/>
          <a:chExt cx="0" cy="0"/>
        </a:xfrm>
      </p:grpSpPr>
      <p:sp>
        <p:nvSpPr>
          <p:cNvPr id="559" name="Google Shape;559;p35"/>
          <p:cNvSpPr/>
          <p:nvPr/>
        </p:nvSpPr>
        <p:spPr>
          <a:xfrm>
            <a:off x="7637800" y="4003875"/>
            <a:ext cx="524100" cy="362700"/>
          </a:xfrm>
          <a:prstGeom prst="roundRect">
            <a:avLst>
              <a:gd name="adj" fmla="val 50000"/>
            </a:avLst>
          </a:prstGeom>
          <a:solidFill>
            <a:srgbClr val="00FFFF">
              <a:alpha val="257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560;p35"/>
          <p:cNvSpPr/>
          <p:nvPr/>
        </p:nvSpPr>
        <p:spPr>
          <a:xfrm>
            <a:off x="7750000" y="4003875"/>
            <a:ext cx="524100" cy="362700"/>
          </a:xfrm>
          <a:prstGeom prst="roundRect">
            <a:avLst>
              <a:gd name="adj" fmla="val 50000"/>
            </a:avLst>
          </a:prstGeom>
          <a:solidFill>
            <a:srgbClr val="FF00FF">
              <a:alpha val="240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561;p35"/>
          <p:cNvSpPr txBox="1">
            <a:spLocks noGrp="1"/>
          </p:cNvSpPr>
          <p:nvPr>
            <p:ph type="ctrTitle"/>
          </p:nvPr>
        </p:nvSpPr>
        <p:spPr>
          <a:xfrm>
            <a:off x="1037250" y="897575"/>
            <a:ext cx="4123800" cy="23493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HOOT</a:t>
            </a:r>
            <a:br>
              <a:rPr lang="en" dirty="0"/>
            </a:br>
            <a:r>
              <a:rPr lang="en" dirty="0"/>
              <a:t>TO</a:t>
            </a:r>
            <a:br>
              <a:rPr lang="en" dirty="0"/>
            </a:br>
            <a:r>
              <a:rPr lang="en" dirty="0"/>
              <a:t>EDIT</a:t>
            </a:r>
            <a:endParaRPr dirty="0"/>
          </a:p>
        </p:txBody>
      </p:sp>
      <p:sp>
        <p:nvSpPr>
          <p:cNvPr id="562" name="Google Shape;562;p35"/>
          <p:cNvSpPr txBox="1">
            <a:spLocks noGrp="1"/>
          </p:cNvSpPr>
          <p:nvPr>
            <p:ph type="subTitle" idx="1"/>
          </p:nvPr>
        </p:nvSpPr>
        <p:spPr>
          <a:xfrm>
            <a:off x="1858950" y="3306400"/>
            <a:ext cx="2648700" cy="697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 dirty="0"/>
              <a:t>AND SOME OTHER STUFF</a:t>
            </a:r>
          </a:p>
          <a:p>
            <a:pPr marL="0" lvl="0" indent="0" algn="l" rtl="0">
              <a:spcBef>
                <a:spcPts val="0"/>
              </a:spcBef>
              <a:spcAft>
                <a:spcPts val="0"/>
              </a:spcAft>
              <a:buClr>
                <a:schemeClr val="dk1"/>
              </a:buClr>
              <a:buSzPts val="1100"/>
              <a:buFont typeface="Arial"/>
              <a:buNone/>
            </a:pPr>
            <a:r>
              <a:rPr lang="en" dirty="0"/>
              <a:t>ABOUT FORMATS</a:t>
            </a:r>
            <a:endParaRPr dirty="0"/>
          </a:p>
        </p:txBody>
      </p:sp>
      <p:sp>
        <p:nvSpPr>
          <p:cNvPr id="563" name="Google Shape;563;p35"/>
          <p:cNvSpPr/>
          <p:nvPr/>
        </p:nvSpPr>
        <p:spPr>
          <a:xfrm>
            <a:off x="7688350" y="4003875"/>
            <a:ext cx="524100" cy="362700"/>
          </a:xfrm>
          <a:prstGeom prst="roundRect">
            <a:avLst>
              <a:gd name="adj" fmla="val 50000"/>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564;p35"/>
          <p:cNvSpPr txBox="1"/>
          <p:nvPr/>
        </p:nvSpPr>
        <p:spPr>
          <a:xfrm>
            <a:off x="7768775" y="4059225"/>
            <a:ext cx="363300" cy="252000"/>
          </a:xfrm>
          <a:prstGeom prst="rect">
            <a:avLst/>
          </a:prstGeom>
          <a:noFill/>
          <a:ln>
            <a:noFill/>
          </a:ln>
        </p:spPr>
        <p:txBody>
          <a:bodyPr spcFirstLastPara="1" wrap="square" lIns="0" tIns="0" rIns="0" bIns="0" anchor="ctr" anchorCtr="0">
            <a:noAutofit/>
          </a:bodyPr>
          <a:lstStyle/>
          <a:p>
            <a:pPr marL="0" lvl="0" indent="0" algn="ctr" rtl="0">
              <a:spcBef>
                <a:spcPts val="0"/>
              </a:spcBef>
              <a:spcAft>
                <a:spcPts val="0"/>
              </a:spcAft>
              <a:buClr>
                <a:schemeClr val="dk1"/>
              </a:buClr>
              <a:buSzPts val="1100"/>
              <a:buFont typeface="Arial"/>
              <a:buNone/>
            </a:pPr>
            <a:r>
              <a:rPr lang="en" sz="1600">
                <a:solidFill>
                  <a:schemeClr val="dk1"/>
                </a:solidFill>
                <a:latin typeface="Roboto Black"/>
                <a:ea typeface="Roboto Black"/>
                <a:cs typeface="Roboto Black"/>
                <a:sym typeface="Roboto Black"/>
              </a:rPr>
              <a:t>HD</a:t>
            </a:r>
            <a:endParaRPr sz="1600">
              <a:solidFill>
                <a:schemeClr val="dk1"/>
              </a:solidFill>
              <a:latin typeface="Roboto Black"/>
              <a:ea typeface="Roboto Black"/>
              <a:cs typeface="Roboto Black"/>
              <a:sym typeface="Roboto Black"/>
            </a:endParaRPr>
          </a:p>
        </p:txBody>
      </p:sp>
      <p:sp>
        <p:nvSpPr>
          <p:cNvPr id="565" name="Google Shape;565;p35"/>
          <p:cNvSpPr/>
          <p:nvPr/>
        </p:nvSpPr>
        <p:spPr>
          <a:xfrm>
            <a:off x="7667300" y="4125550"/>
            <a:ext cx="65100" cy="210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566;p35"/>
          <p:cNvSpPr/>
          <p:nvPr/>
        </p:nvSpPr>
        <p:spPr>
          <a:xfrm>
            <a:off x="8210450" y="4311225"/>
            <a:ext cx="33900" cy="210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567;p35"/>
          <p:cNvSpPr/>
          <p:nvPr/>
        </p:nvSpPr>
        <p:spPr>
          <a:xfrm>
            <a:off x="8194850" y="4059225"/>
            <a:ext cx="65100" cy="21000"/>
          </a:xfrm>
          <a:prstGeom prst="rect">
            <a:avLst/>
          </a:prstGeom>
          <a:solidFill>
            <a:srgbClr val="FF00FF">
              <a:alpha val="240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568;p35"/>
          <p:cNvSpPr/>
          <p:nvPr/>
        </p:nvSpPr>
        <p:spPr>
          <a:xfrm>
            <a:off x="8304175" y="4220350"/>
            <a:ext cx="65100" cy="21000"/>
          </a:xfrm>
          <a:prstGeom prst="rect">
            <a:avLst/>
          </a:prstGeom>
          <a:solidFill>
            <a:srgbClr val="FF00FF">
              <a:alpha val="240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69" name="Google Shape;569;p35"/>
          <p:cNvGrpSpPr/>
          <p:nvPr/>
        </p:nvGrpSpPr>
        <p:grpSpPr>
          <a:xfrm rot="5400000">
            <a:off x="1200708" y="3367603"/>
            <a:ext cx="432190" cy="266265"/>
            <a:chOff x="1037255" y="4051434"/>
            <a:chExt cx="496200" cy="305700"/>
          </a:xfrm>
        </p:grpSpPr>
        <p:sp>
          <p:nvSpPr>
            <p:cNvPr id="570" name="Google Shape;570;p35"/>
            <p:cNvSpPr/>
            <p:nvPr/>
          </p:nvSpPr>
          <p:spPr>
            <a:xfrm>
              <a:off x="1037255" y="4051434"/>
              <a:ext cx="305700" cy="305700"/>
            </a:xfrm>
            <a:prstGeom prst="ellipse">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571;p35"/>
            <p:cNvSpPr/>
            <p:nvPr/>
          </p:nvSpPr>
          <p:spPr>
            <a:xfrm>
              <a:off x="1227755" y="4051434"/>
              <a:ext cx="305700" cy="3057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2" name="Google Shape;572;p35"/>
          <p:cNvGrpSpPr/>
          <p:nvPr/>
        </p:nvGrpSpPr>
        <p:grpSpPr>
          <a:xfrm>
            <a:off x="5648209" y="826859"/>
            <a:ext cx="2059500" cy="3503074"/>
            <a:chOff x="5648209" y="826859"/>
            <a:chExt cx="2059500" cy="3503074"/>
          </a:xfrm>
        </p:grpSpPr>
        <p:sp>
          <p:nvSpPr>
            <p:cNvPr id="573" name="Google Shape;573;p35"/>
            <p:cNvSpPr/>
            <p:nvPr/>
          </p:nvSpPr>
          <p:spPr>
            <a:xfrm rot="-5400000">
              <a:off x="5648209" y="2270433"/>
              <a:ext cx="2059500" cy="2059500"/>
            </a:xfrm>
            <a:prstGeom prst="ellipse">
              <a:avLst/>
            </a:prstGeom>
            <a:noFill/>
            <a:ln w="2857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574;p35"/>
            <p:cNvSpPr/>
            <p:nvPr/>
          </p:nvSpPr>
          <p:spPr>
            <a:xfrm rot="-5400000">
              <a:off x="5648209" y="1548600"/>
              <a:ext cx="2059500" cy="2059500"/>
            </a:xfrm>
            <a:prstGeom prst="ellipse">
              <a:avLst/>
            </a:prstGeom>
            <a:noFill/>
            <a:ln w="2857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575;p35"/>
            <p:cNvSpPr/>
            <p:nvPr/>
          </p:nvSpPr>
          <p:spPr>
            <a:xfrm rot="-5400000">
              <a:off x="5648209" y="826859"/>
              <a:ext cx="2059500" cy="2059500"/>
            </a:xfrm>
            <a:prstGeom prst="ellipse">
              <a:avLst/>
            </a:prstGeom>
            <a:noFill/>
            <a:ln w="2857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76" name="Google Shape;576;p35"/>
            <p:cNvGrpSpPr/>
            <p:nvPr/>
          </p:nvGrpSpPr>
          <p:grpSpPr>
            <a:xfrm rot="-5400000">
              <a:off x="5394856" y="1882119"/>
              <a:ext cx="2566343" cy="1392463"/>
              <a:chOff x="1443025" y="1086275"/>
              <a:chExt cx="2111000" cy="1145400"/>
            </a:xfrm>
          </p:grpSpPr>
          <p:sp>
            <p:nvSpPr>
              <p:cNvPr id="577" name="Google Shape;577;p35"/>
              <p:cNvSpPr/>
              <p:nvPr/>
            </p:nvSpPr>
            <p:spPr>
              <a:xfrm>
                <a:off x="1443025" y="1086275"/>
                <a:ext cx="2111000" cy="229225"/>
              </a:xfrm>
              <a:custGeom>
                <a:avLst/>
                <a:gdLst/>
                <a:ahLst/>
                <a:cxnLst/>
                <a:rect l="l" t="t" r="r" b="b"/>
                <a:pathLst>
                  <a:path w="84440" h="9169" extrusionOk="0">
                    <a:moveTo>
                      <a:pt x="84416" y="1679"/>
                    </a:moveTo>
                    <a:lnTo>
                      <a:pt x="84190" y="8883"/>
                    </a:lnTo>
                    <a:lnTo>
                      <a:pt x="274" y="9168"/>
                    </a:lnTo>
                    <a:lnTo>
                      <a:pt x="24" y="1703"/>
                    </a:lnTo>
                    <a:cubicBezTo>
                      <a:pt x="1" y="774"/>
                      <a:pt x="739" y="12"/>
                      <a:pt x="1667" y="12"/>
                    </a:cubicBezTo>
                    <a:lnTo>
                      <a:pt x="82785" y="12"/>
                    </a:lnTo>
                    <a:cubicBezTo>
                      <a:pt x="83701" y="1"/>
                      <a:pt x="84440" y="763"/>
                      <a:pt x="84416" y="1679"/>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578;p35"/>
              <p:cNvSpPr/>
              <p:nvPr/>
            </p:nvSpPr>
            <p:spPr>
              <a:xfrm>
                <a:off x="1450175" y="1200575"/>
                <a:ext cx="2097600" cy="1031100"/>
              </a:xfrm>
              <a:custGeom>
                <a:avLst/>
                <a:gdLst/>
                <a:ahLst/>
                <a:cxnLst/>
                <a:rect l="l" t="t" r="r" b="b"/>
                <a:pathLst>
                  <a:path w="83904" h="41244" extrusionOk="0">
                    <a:moveTo>
                      <a:pt x="82070" y="5418"/>
                    </a:moveTo>
                    <a:lnTo>
                      <a:pt x="82106" y="5418"/>
                    </a:lnTo>
                    <a:lnTo>
                      <a:pt x="82427" y="893"/>
                    </a:lnTo>
                    <a:cubicBezTo>
                      <a:pt x="82463" y="417"/>
                      <a:pt x="82082" y="1"/>
                      <a:pt x="81606" y="1"/>
                    </a:cubicBezTo>
                    <a:lnTo>
                      <a:pt x="2155" y="1"/>
                    </a:lnTo>
                    <a:cubicBezTo>
                      <a:pt x="1655" y="1"/>
                      <a:pt x="1286" y="417"/>
                      <a:pt x="1334" y="893"/>
                    </a:cubicBezTo>
                    <a:lnTo>
                      <a:pt x="1691" y="5025"/>
                    </a:lnTo>
                    <a:lnTo>
                      <a:pt x="0" y="5013"/>
                    </a:lnTo>
                    <a:lnTo>
                      <a:pt x="1072" y="37196"/>
                    </a:lnTo>
                    <a:cubicBezTo>
                      <a:pt x="1155" y="39303"/>
                      <a:pt x="2882" y="41006"/>
                      <a:pt x="5001" y="41006"/>
                    </a:cubicBezTo>
                    <a:lnTo>
                      <a:pt x="79070" y="41220"/>
                    </a:lnTo>
                    <a:cubicBezTo>
                      <a:pt x="81213" y="41244"/>
                      <a:pt x="82963" y="39529"/>
                      <a:pt x="83023" y="37386"/>
                    </a:cubicBezTo>
                    <a:lnTo>
                      <a:pt x="83904" y="5406"/>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579;p35"/>
              <p:cNvSpPr/>
              <p:nvPr/>
            </p:nvSpPr>
            <p:spPr>
              <a:xfrm>
                <a:off x="1471900" y="1218725"/>
                <a:ext cx="2053850" cy="995400"/>
              </a:xfrm>
              <a:custGeom>
                <a:avLst/>
                <a:gdLst/>
                <a:ahLst/>
                <a:cxnLst/>
                <a:rect l="l" t="t" r="r" b="b"/>
                <a:pathLst>
                  <a:path w="82154" h="39816" extrusionOk="0">
                    <a:moveTo>
                      <a:pt x="4382" y="39601"/>
                    </a:moveTo>
                    <a:cubicBezTo>
                      <a:pt x="2560" y="39601"/>
                      <a:pt x="1108" y="38172"/>
                      <a:pt x="1048" y="36374"/>
                    </a:cubicBezTo>
                    <a:lnTo>
                      <a:pt x="0" y="4989"/>
                    </a:lnTo>
                    <a:lnTo>
                      <a:pt x="1715" y="5001"/>
                    </a:lnTo>
                    <a:lnTo>
                      <a:pt x="1298" y="275"/>
                    </a:lnTo>
                    <a:cubicBezTo>
                      <a:pt x="1286" y="179"/>
                      <a:pt x="1322" y="108"/>
                      <a:pt x="1358" y="72"/>
                    </a:cubicBezTo>
                    <a:cubicBezTo>
                      <a:pt x="1382" y="48"/>
                      <a:pt x="1441" y="1"/>
                      <a:pt x="1536" y="1"/>
                    </a:cubicBezTo>
                    <a:lnTo>
                      <a:pt x="80475" y="1"/>
                    </a:lnTo>
                    <a:cubicBezTo>
                      <a:pt x="80558" y="1"/>
                      <a:pt x="80618" y="48"/>
                      <a:pt x="80653" y="72"/>
                    </a:cubicBezTo>
                    <a:cubicBezTo>
                      <a:pt x="80677" y="108"/>
                      <a:pt x="80725" y="167"/>
                      <a:pt x="80713" y="275"/>
                    </a:cubicBezTo>
                    <a:lnTo>
                      <a:pt x="80403" y="5370"/>
                    </a:lnTo>
                    <a:lnTo>
                      <a:pt x="82154" y="5394"/>
                    </a:lnTo>
                    <a:lnTo>
                      <a:pt x="81320" y="36565"/>
                    </a:lnTo>
                    <a:cubicBezTo>
                      <a:pt x="81272" y="38398"/>
                      <a:pt x="79808" y="39815"/>
                      <a:pt x="77986" y="39815"/>
                    </a:cubicBezTo>
                    <a:cubicBezTo>
                      <a:pt x="77974" y="39815"/>
                      <a:pt x="4382" y="39601"/>
                      <a:pt x="4382" y="3960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580;p35"/>
              <p:cNvSpPr/>
              <p:nvPr/>
            </p:nvSpPr>
            <p:spPr>
              <a:xfrm>
                <a:off x="1471900" y="1412200"/>
                <a:ext cx="2052650" cy="581650"/>
              </a:xfrm>
              <a:custGeom>
                <a:avLst/>
                <a:gdLst/>
                <a:ahLst/>
                <a:cxnLst/>
                <a:rect l="l" t="t" r="r" b="b"/>
                <a:pathLst>
                  <a:path w="82106" h="23266" extrusionOk="0">
                    <a:moveTo>
                      <a:pt x="10704" y="23266"/>
                    </a:moveTo>
                    <a:cubicBezTo>
                      <a:pt x="9811" y="23266"/>
                      <a:pt x="774" y="22301"/>
                      <a:pt x="774" y="22301"/>
                    </a:cubicBezTo>
                    <a:lnTo>
                      <a:pt x="0" y="1251"/>
                    </a:lnTo>
                    <a:cubicBezTo>
                      <a:pt x="0" y="1251"/>
                      <a:pt x="9287" y="310"/>
                      <a:pt x="10276" y="298"/>
                    </a:cubicBezTo>
                    <a:lnTo>
                      <a:pt x="12907" y="287"/>
                    </a:lnTo>
                    <a:lnTo>
                      <a:pt x="60603" y="48"/>
                    </a:lnTo>
                    <a:lnTo>
                      <a:pt x="71236" y="1"/>
                    </a:lnTo>
                    <a:lnTo>
                      <a:pt x="82106" y="1"/>
                    </a:lnTo>
                    <a:lnTo>
                      <a:pt x="81487" y="22694"/>
                    </a:lnTo>
                    <a:cubicBezTo>
                      <a:pt x="81487" y="22694"/>
                      <a:pt x="71986" y="23254"/>
                      <a:pt x="71033" y="23254"/>
                    </a:cubicBezTo>
                    <a:lnTo>
                      <a:pt x="10704" y="23254"/>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581;p35"/>
              <p:cNvSpPr/>
              <p:nvPr/>
            </p:nvSpPr>
            <p:spPr>
              <a:xfrm>
                <a:off x="1574000" y="1437200"/>
                <a:ext cx="1814525" cy="532550"/>
              </a:xfrm>
              <a:custGeom>
                <a:avLst/>
                <a:gdLst/>
                <a:ahLst/>
                <a:cxnLst/>
                <a:rect l="l" t="t" r="r" b="b"/>
                <a:pathLst>
                  <a:path w="72581" h="21302" extrusionOk="0">
                    <a:moveTo>
                      <a:pt x="68461" y="20230"/>
                    </a:moveTo>
                    <a:cubicBezTo>
                      <a:pt x="68104" y="20896"/>
                      <a:pt x="67413" y="21301"/>
                      <a:pt x="66675" y="21301"/>
                    </a:cubicBezTo>
                    <a:lnTo>
                      <a:pt x="6882" y="21301"/>
                    </a:lnTo>
                    <a:cubicBezTo>
                      <a:pt x="6203" y="21301"/>
                      <a:pt x="5560" y="20956"/>
                      <a:pt x="5191" y="20361"/>
                    </a:cubicBezTo>
                    <a:cubicBezTo>
                      <a:pt x="3596" y="17872"/>
                      <a:pt x="0" y="10621"/>
                      <a:pt x="4668" y="1394"/>
                    </a:cubicBezTo>
                    <a:cubicBezTo>
                      <a:pt x="5013" y="727"/>
                      <a:pt x="5691" y="311"/>
                      <a:pt x="6453" y="299"/>
                    </a:cubicBezTo>
                    <a:lnTo>
                      <a:pt x="9061" y="287"/>
                    </a:lnTo>
                    <a:lnTo>
                      <a:pt x="35386" y="144"/>
                    </a:lnTo>
                    <a:lnTo>
                      <a:pt x="46673" y="84"/>
                    </a:lnTo>
                    <a:lnTo>
                      <a:pt x="46673" y="84"/>
                    </a:lnTo>
                    <a:lnTo>
                      <a:pt x="56329" y="37"/>
                    </a:lnTo>
                    <a:lnTo>
                      <a:pt x="56329" y="37"/>
                    </a:lnTo>
                    <a:lnTo>
                      <a:pt x="66854" y="1"/>
                    </a:lnTo>
                    <a:cubicBezTo>
                      <a:pt x="67663" y="1"/>
                      <a:pt x="68414" y="501"/>
                      <a:pt x="68735" y="1275"/>
                    </a:cubicBezTo>
                    <a:cubicBezTo>
                      <a:pt x="70021" y="4418"/>
                      <a:pt x="72581" y="12622"/>
                      <a:pt x="68461" y="20230"/>
                    </a:cubicBezTo>
                    <a:close/>
                  </a:path>
                </a:pathLst>
              </a:custGeom>
              <a:solidFill>
                <a:srgbClr val="8A70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582;p35"/>
              <p:cNvSpPr/>
              <p:nvPr/>
            </p:nvSpPr>
            <p:spPr>
              <a:xfrm>
                <a:off x="1703475" y="1441675"/>
                <a:ext cx="855500" cy="528075"/>
              </a:xfrm>
              <a:custGeom>
                <a:avLst/>
                <a:gdLst/>
                <a:ahLst/>
                <a:cxnLst/>
                <a:rect l="l" t="t" r="r" b="b"/>
                <a:pathLst>
                  <a:path w="34220" h="21123" extrusionOk="0">
                    <a:moveTo>
                      <a:pt x="34219" y="11002"/>
                    </a:moveTo>
                    <a:cubicBezTo>
                      <a:pt x="34219" y="14776"/>
                      <a:pt x="32993" y="18289"/>
                      <a:pt x="30909" y="21122"/>
                    </a:cubicBezTo>
                    <a:lnTo>
                      <a:pt x="3310" y="21122"/>
                    </a:lnTo>
                    <a:cubicBezTo>
                      <a:pt x="1227" y="18289"/>
                      <a:pt x="0" y="14776"/>
                      <a:pt x="0" y="11002"/>
                    </a:cubicBezTo>
                    <a:cubicBezTo>
                      <a:pt x="0" y="6870"/>
                      <a:pt x="1453" y="3084"/>
                      <a:pt x="3894" y="132"/>
                    </a:cubicBezTo>
                    <a:lnTo>
                      <a:pt x="30219" y="1"/>
                    </a:lnTo>
                    <a:cubicBezTo>
                      <a:pt x="32707" y="2977"/>
                      <a:pt x="34219" y="6811"/>
                      <a:pt x="34219" y="11002"/>
                    </a:cubicBezTo>
                    <a:close/>
                  </a:path>
                </a:pathLst>
              </a:custGeom>
              <a:solidFill>
                <a:srgbClr val="0C152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583;p35"/>
              <p:cNvSpPr/>
              <p:nvPr/>
            </p:nvSpPr>
            <p:spPr>
              <a:xfrm>
                <a:off x="1931475" y="1516975"/>
                <a:ext cx="399775" cy="399475"/>
              </a:xfrm>
              <a:custGeom>
                <a:avLst/>
                <a:gdLst/>
                <a:ahLst/>
                <a:cxnLst/>
                <a:rect l="l" t="t" r="r" b="b"/>
                <a:pathLst>
                  <a:path w="15991" h="15979" extrusionOk="0">
                    <a:moveTo>
                      <a:pt x="9192" y="668"/>
                    </a:moveTo>
                    <a:cubicBezTo>
                      <a:pt x="13240" y="1322"/>
                      <a:pt x="15991" y="5144"/>
                      <a:pt x="15324" y="9192"/>
                    </a:cubicBezTo>
                    <a:cubicBezTo>
                      <a:pt x="14657" y="13241"/>
                      <a:pt x="10847" y="15979"/>
                      <a:pt x="6799" y="15324"/>
                    </a:cubicBezTo>
                    <a:cubicBezTo>
                      <a:pt x="2751" y="14657"/>
                      <a:pt x="1" y="10847"/>
                      <a:pt x="667" y="6799"/>
                    </a:cubicBezTo>
                    <a:cubicBezTo>
                      <a:pt x="1322" y="2751"/>
                      <a:pt x="5144" y="1"/>
                      <a:pt x="9192" y="668"/>
                    </a:cubicBezTo>
                    <a:close/>
                  </a:path>
                </a:pathLst>
              </a:custGeom>
              <a:solidFill>
                <a:srgbClr val="CCCAC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584;p35"/>
              <p:cNvSpPr/>
              <p:nvPr/>
            </p:nvSpPr>
            <p:spPr>
              <a:xfrm>
                <a:off x="1955300" y="1540500"/>
                <a:ext cx="351850" cy="352150"/>
              </a:xfrm>
              <a:custGeom>
                <a:avLst/>
                <a:gdLst/>
                <a:ahLst/>
                <a:cxnLst/>
                <a:rect l="l" t="t" r="r" b="b"/>
                <a:pathLst>
                  <a:path w="14074" h="14086" extrusionOk="0">
                    <a:moveTo>
                      <a:pt x="7025" y="0"/>
                    </a:moveTo>
                    <a:lnTo>
                      <a:pt x="7037" y="1239"/>
                    </a:lnTo>
                    <a:cubicBezTo>
                      <a:pt x="8180" y="1239"/>
                      <a:pt x="9299" y="1584"/>
                      <a:pt x="10251" y="2203"/>
                    </a:cubicBezTo>
                    <a:lnTo>
                      <a:pt x="10918" y="1179"/>
                    </a:lnTo>
                    <a:cubicBezTo>
                      <a:pt x="9775" y="405"/>
                      <a:pt x="8418" y="0"/>
                      <a:pt x="7037" y="0"/>
                    </a:cubicBezTo>
                    <a:close/>
                    <a:moveTo>
                      <a:pt x="5644" y="155"/>
                    </a:moveTo>
                    <a:cubicBezTo>
                      <a:pt x="4275" y="417"/>
                      <a:pt x="3024" y="1096"/>
                      <a:pt x="2036" y="2084"/>
                    </a:cubicBezTo>
                    <a:lnTo>
                      <a:pt x="2917" y="2953"/>
                    </a:lnTo>
                    <a:cubicBezTo>
                      <a:pt x="3739" y="2132"/>
                      <a:pt x="4763" y="1584"/>
                      <a:pt x="5882" y="1358"/>
                    </a:cubicBezTo>
                    <a:lnTo>
                      <a:pt x="5644" y="155"/>
                    </a:lnTo>
                    <a:close/>
                    <a:moveTo>
                      <a:pt x="11978" y="2060"/>
                    </a:moveTo>
                    <a:lnTo>
                      <a:pt x="11121" y="2941"/>
                    </a:lnTo>
                    <a:cubicBezTo>
                      <a:pt x="11942" y="3751"/>
                      <a:pt x="12502" y="4763"/>
                      <a:pt x="12728" y="5894"/>
                    </a:cubicBezTo>
                    <a:lnTo>
                      <a:pt x="13919" y="5644"/>
                    </a:lnTo>
                    <a:cubicBezTo>
                      <a:pt x="13645" y="4287"/>
                      <a:pt x="12978" y="3036"/>
                      <a:pt x="11978" y="2060"/>
                    </a:cubicBezTo>
                    <a:close/>
                    <a:moveTo>
                      <a:pt x="1179" y="3144"/>
                    </a:moveTo>
                    <a:cubicBezTo>
                      <a:pt x="405" y="4310"/>
                      <a:pt x="0" y="5656"/>
                      <a:pt x="0" y="7061"/>
                    </a:cubicBezTo>
                    <a:lnTo>
                      <a:pt x="1227" y="7049"/>
                    </a:lnTo>
                    <a:cubicBezTo>
                      <a:pt x="1227" y="5894"/>
                      <a:pt x="1560" y="4787"/>
                      <a:pt x="2203" y="3834"/>
                    </a:cubicBezTo>
                    <a:lnTo>
                      <a:pt x="1179" y="3144"/>
                    </a:lnTo>
                    <a:close/>
                    <a:moveTo>
                      <a:pt x="14073" y="7013"/>
                    </a:moveTo>
                    <a:lnTo>
                      <a:pt x="12847" y="7049"/>
                    </a:lnTo>
                    <a:cubicBezTo>
                      <a:pt x="12847" y="8204"/>
                      <a:pt x="12502" y="9323"/>
                      <a:pt x="11859" y="10275"/>
                    </a:cubicBezTo>
                    <a:lnTo>
                      <a:pt x="12883" y="10954"/>
                    </a:lnTo>
                    <a:cubicBezTo>
                      <a:pt x="13657" y="9799"/>
                      <a:pt x="14073" y="8442"/>
                      <a:pt x="14073" y="7049"/>
                    </a:cubicBezTo>
                    <a:lnTo>
                      <a:pt x="14073" y="7013"/>
                    </a:lnTo>
                    <a:close/>
                    <a:moveTo>
                      <a:pt x="1334" y="8192"/>
                    </a:moveTo>
                    <a:lnTo>
                      <a:pt x="131" y="8430"/>
                    </a:lnTo>
                    <a:cubicBezTo>
                      <a:pt x="417" y="9799"/>
                      <a:pt x="1072" y="11049"/>
                      <a:pt x="2072" y="12026"/>
                    </a:cubicBezTo>
                    <a:lnTo>
                      <a:pt x="2929" y="11157"/>
                    </a:lnTo>
                    <a:cubicBezTo>
                      <a:pt x="2108" y="10347"/>
                      <a:pt x="1560" y="9323"/>
                      <a:pt x="1334" y="8192"/>
                    </a:cubicBezTo>
                    <a:close/>
                    <a:moveTo>
                      <a:pt x="11144" y="11145"/>
                    </a:moveTo>
                    <a:cubicBezTo>
                      <a:pt x="10347" y="11966"/>
                      <a:pt x="9311" y="12514"/>
                      <a:pt x="8180" y="12740"/>
                    </a:cubicBezTo>
                    <a:lnTo>
                      <a:pt x="8418" y="13955"/>
                    </a:lnTo>
                    <a:cubicBezTo>
                      <a:pt x="9775" y="13681"/>
                      <a:pt x="11025" y="13014"/>
                      <a:pt x="12002" y="12014"/>
                    </a:cubicBezTo>
                    <a:lnTo>
                      <a:pt x="11144" y="11145"/>
                    </a:lnTo>
                    <a:close/>
                    <a:moveTo>
                      <a:pt x="3810" y="11883"/>
                    </a:moveTo>
                    <a:lnTo>
                      <a:pt x="3120" y="12907"/>
                    </a:lnTo>
                    <a:cubicBezTo>
                      <a:pt x="4286" y="13681"/>
                      <a:pt x="5644" y="14085"/>
                      <a:pt x="7037" y="14085"/>
                    </a:cubicBezTo>
                    <a:lnTo>
                      <a:pt x="7025" y="12847"/>
                    </a:lnTo>
                    <a:cubicBezTo>
                      <a:pt x="5882" y="12847"/>
                      <a:pt x="4763" y="12526"/>
                      <a:pt x="3810" y="11883"/>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585;p35"/>
              <p:cNvSpPr/>
              <p:nvPr/>
            </p:nvSpPr>
            <p:spPr>
              <a:xfrm>
                <a:off x="2073450" y="1659250"/>
                <a:ext cx="115525" cy="115525"/>
              </a:xfrm>
              <a:custGeom>
                <a:avLst/>
                <a:gdLst/>
                <a:ahLst/>
                <a:cxnLst/>
                <a:rect l="l" t="t" r="r" b="b"/>
                <a:pathLst>
                  <a:path w="4621" h="4621" extrusionOk="0">
                    <a:moveTo>
                      <a:pt x="4621" y="2311"/>
                    </a:moveTo>
                    <a:cubicBezTo>
                      <a:pt x="4621" y="3585"/>
                      <a:pt x="3597" y="4621"/>
                      <a:pt x="2311" y="4621"/>
                    </a:cubicBezTo>
                    <a:cubicBezTo>
                      <a:pt x="1025" y="4621"/>
                      <a:pt x="1" y="3585"/>
                      <a:pt x="1" y="2311"/>
                    </a:cubicBezTo>
                    <a:cubicBezTo>
                      <a:pt x="1" y="1025"/>
                      <a:pt x="1025" y="1"/>
                      <a:pt x="2311" y="1"/>
                    </a:cubicBezTo>
                    <a:cubicBezTo>
                      <a:pt x="3597" y="1"/>
                      <a:pt x="4621" y="1025"/>
                      <a:pt x="4621" y="2311"/>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586;p35"/>
              <p:cNvSpPr/>
              <p:nvPr/>
            </p:nvSpPr>
            <p:spPr>
              <a:xfrm>
                <a:off x="2104725" y="1690525"/>
                <a:ext cx="53000" cy="53000"/>
              </a:xfrm>
              <a:custGeom>
                <a:avLst/>
                <a:gdLst/>
                <a:ahLst/>
                <a:cxnLst/>
                <a:rect l="l" t="t" r="r" b="b"/>
                <a:pathLst>
                  <a:path w="2120" h="2120" extrusionOk="0">
                    <a:moveTo>
                      <a:pt x="2119" y="1060"/>
                    </a:moveTo>
                    <a:cubicBezTo>
                      <a:pt x="2119" y="1643"/>
                      <a:pt x="1643" y="2119"/>
                      <a:pt x="1060" y="2119"/>
                    </a:cubicBezTo>
                    <a:cubicBezTo>
                      <a:pt x="476" y="2119"/>
                      <a:pt x="0" y="1643"/>
                      <a:pt x="0" y="1060"/>
                    </a:cubicBezTo>
                    <a:cubicBezTo>
                      <a:pt x="0" y="476"/>
                      <a:pt x="476" y="0"/>
                      <a:pt x="1060" y="0"/>
                    </a:cubicBezTo>
                    <a:cubicBezTo>
                      <a:pt x="1643" y="0"/>
                      <a:pt x="2119" y="464"/>
                      <a:pt x="2119" y="1060"/>
                    </a:cubicBezTo>
                    <a:close/>
                  </a:path>
                </a:pathLst>
              </a:custGeom>
              <a:solidFill>
                <a:srgbClr val="6B6A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587;p35"/>
              <p:cNvSpPr/>
              <p:nvPr/>
            </p:nvSpPr>
            <p:spPr>
              <a:xfrm>
                <a:off x="1946650" y="1731900"/>
                <a:ext cx="96175" cy="128300"/>
              </a:xfrm>
              <a:custGeom>
                <a:avLst/>
                <a:gdLst/>
                <a:ahLst/>
                <a:cxnLst/>
                <a:rect l="l" t="t" r="r" b="b"/>
                <a:pathLst>
                  <a:path w="3847" h="5132" extrusionOk="0">
                    <a:moveTo>
                      <a:pt x="2668" y="5132"/>
                    </a:moveTo>
                    <a:lnTo>
                      <a:pt x="3847" y="3691"/>
                    </a:lnTo>
                    <a:cubicBezTo>
                      <a:pt x="3847" y="3691"/>
                      <a:pt x="1918" y="2274"/>
                      <a:pt x="1894" y="0"/>
                    </a:cubicBezTo>
                    <a:lnTo>
                      <a:pt x="13" y="286"/>
                    </a:lnTo>
                    <a:cubicBezTo>
                      <a:pt x="1" y="298"/>
                      <a:pt x="156" y="3000"/>
                      <a:pt x="2668" y="5132"/>
                    </a:cubicBezTo>
                    <a:close/>
                  </a:path>
                </a:pathLst>
              </a:custGeom>
              <a:solidFill>
                <a:srgbClr val="9B113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588;p35"/>
              <p:cNvSpPr/>
              <p:nvPr/>
            </p:nvSpPr>
            <p:spPr>
              <a:xfrm>
                <a:off x="2561325" y="1439000"/>
                <a:ext cx="603975" cy="530750"/>
              </a:xfrm>
              <a:custGeom>
                <a:avLst/>
                <a:gdLst/>
                <a:ahLst/>
                <a:cxnLst/>
                <a:rect l="l" t="t" r="r" b="b"/>
                <a:pathLst>
                  <a:path w="24159" h="21230" extrusionOk="0">
                    <a:moveTo>
                      <a:pt x="24158" y="11109"/>
                    </a:moveTo>
                    <a:cubicBezTo>
                      <a:pt x="24158" y="15348"/>
                      <a:pt x="21967" y="19086"/>
                      <a:pt x="18669" y="21229"/>
                    </a:cubicBezTo>
                    <a:lnTo>
                      <a:pt x="5489" y="21229"/>
                    </a:lnTo>
                    <a:cubicBezTo>
                      <a:pt x="2191" y="19062"/>
                      <a:pt x="0" y="15348"/>
                      <a:pt x="0" y="11109"/>
                    </a:cubicBezTo>
                    <a:cubicBezTo>
                      <a:pt x="0" y="6180"/>
                      <a:pt x="2965" y="1941"/>
                      <a:pt x="7192" y="48"/>
                    </a:cubicBezTo>
                    <a:lnTo>
                      <a:pt x="7192" y="48"/>
                    </a:lnTo>
                    <a:lnTo>
                      <a:pt x="16848" y="0"/>
                    </a:lnTo>
                    <a:lnTo>
                      <a:pt x="16848" y="0"/>
                    </a:lnTo>
                    <a:cubicBezTo>
                      <a:pt x="21146" y="1858"/>
                      <a:pt x="24158" y="6132"/>
                      <a:pt x="24158" y="11109"/>
                    </a:cubicBezTo>
                    <a:close/>
                  </a:path>
                </a:pathLst>
              </a:custGeom>
              <a:solidFill>
                <a:srgbClr val="0C152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589;p35"/>
              <p:cNvSpPr/>
              <p:nvPr/>
            </p:nvSpPr>
            <p:spPr>
              <a:xfrm>
                <a:off x="2663425" y="1516975"/>
                <a:ext cx="399475" cy="399775"/>
              </a:xfrm>
              <a:custGeom>
                <a:avLst/>
                <a:gdLst/>
                <a:ahLst/>
                <a:cxnLst/>
                <a:rect l="l" t="t" r="r" b="b"/>
                <a:pathLst>
                  <a:path w="15979" h="15991" extrusionOk="0">
                    <a:moveTo>
                      <a:pt x="9192" y="668"/>
                    </a:moveTo>
                    <a:cubicBezTo>
                      <a:pt x="13240" y="1322"/>
                      <a:pt x="15978" y="5144"/>
                      <a:pt x="15323" y="9192"/>
                    </a:cubicBezTo>
                    <a:cubicBezTo>
                      <a:pt x="14657" y="13241"/>
                      <a:pt x="10847" y="15991"/>
                      <a:pt x="6799" y="15324"/>
                    </a:cubicBezTo>
                    <a:cubicBezTo>
                      <a:pt x="2750" y="14657"/>
                      <a:pt x="0" y="10847"/>
                      <a:pt x="667" y="6799"/>
                    </a:cubicBezTo>
                    <a:cubicBezTo>
                      <a:pt x="1322" y="2751"/>
                      <a:pt x="5144" y="1"/>
                      <a:pt x="9192" y="668"/>
                    </a:cubicBezTo>
                    <a:close/>
                  </a:path>
                </a:pathLst>
              </a:custGeom>
              <a:solidFill>
                <a:srgbClr val="CCCAC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590;p35"/>
              <p:cNvSpPr/>
              <p:nvPr/>
            </p:nvSpPr>
            <p:spPr>
              <a:xfrm>
                <a:off x="2687225" y="1540500"/>
                <a:ext cx="351850" cy="352150"/>
              </a:xfrm>
              <a:custGeom>
                <a:avLst/>
                <a:gdLst/>
                <a:ahLst/>
                <a:cxnLst/>
                <a:rect l="l" t="t" r="r" b="b"/>
                <a:pathLst>
                  <a:path w="14074" h="14086" extrusionOk="0">
                    <a:moveTo>
                      <a:pt x="7025" y="0"/>
                    </a:moveTo>
                    <a:lnTo>
                      <a:pt x="7037" y="1239"/>
                    </a:lnTo>
                    <a:cubicBezTo>
                      <a:pt x="8180" y="1239"/>
                      <a:pt x="9299" y="1584"/>
                      <a:pt x="10252" y="2203"/>
                    </a:cubicBezTo>
                    <a:lnTo>
                      <a:pt x="10919" y="1179"/>
                    </a:lnTo>
                    <a:cubicBezTo>
                      <a:pt x="9776" y="405"/>
                      <a:pt x="8418" y="0"/>
                      <a:pt x="7037" y="0"/>
                    </a:cubicBezTo>
                    <a:close/>
                    <a:moveTo>
                      <a:pt x="5656" y="155"/>
                    </a:moveTo>
                    <a:cubicBezTo>
                      <a:pt x="4287" y="417"/>
                      <a:pt x="3037" y="1096"/>
                      <a:pt x="2049" y="2084"/>
                    </a:cubicBezTo>
                    <a:lnTo>
                      <a:pt x="2930" y="2953"/>
                    </a:lnTo>
                    <a:cubicBezTo>
                      <a:pt x="3727" y="2132"/>
                      <a:pt x="4763" y="1584"/>
                      <a:pt x="5894" y="1358"/>
                    </a:cubicBezTo>
                    <a:lnTo>
                      <a:pt x="5656" y="155"/>
                    </a:lnTo>
                    <a:close/>
                    <a:moveTo>
                      <a:pt x="11990" y="2060"/>
                    </a:moveTo>
                    <a:lnTo>
                      <a:pt x="11133" y="2941"/>
                    </a:lnTo>
                    <a:cubicBezTo>
                      <a:pt x="11955" y="3751"/>
                      <a:pt x="12514" y="4763"/>
                      <a:pt x="12740" y="5894"/>
                    </a:cubicBezTo>
                    <a:lnTo>
                      <a:pt x="13931" y="5644"/>
                    </a:lnTo>
                    <a:cubicBezTo>
                      <a:pt x="13657" y="4287"/>
                      <a:pt x="12990" y="3036"/>
                      <a:pt x="11990" y="2060"/>
                    </a:cubicBezTo>
                    <a:close/>
                    <a:moveTo>
                      <a:pt x="1167" y="3144"/>
                    </a:moveTo>
                    <a:cubicBezTo>
                      <a:pt x="394" y="4310"/>
                      <a:pt x="1" y="5656"/>
                      <a:pt x="1" y="7061"/>
                    </a:cubicBezTo>
                    <a:lnTo>
                      <a:pt x="1227" y="7049"/>
                    </a:lnTo>
                    <a:cubicBezTo>
                      <a:pt x="1227" y="5894"/>
                      <a:pt x="1560" y="4787"/>
                      <a:pt x="2203" y="3834"/>
                    </a:cubicBezTo>
                    <a:lnTo>
                      <a:pt x="1167" y="3144"/>
                    </a:lnTo>
                    <a:close/>
                    <a:moveTo>
                      <a:pt x="14074" y="7013"/>
                    </a:moveTo>
                    <a:lnTo>
                      <a:pt x="12836" y="7049"/>
                    </a:lnTo>
                    <a:cubicBezTo>
                      <a:pt x="12836" y="8204"/>
                      <a:pt x="12502" y="9323"/>
                      <a:pt x="11859" y="10275"/>
                    </a:cubicBezTo>
                    <a:lnTo>
                      <a:pt x="12883" y="10954"/>
                    </a:lnTo>
                    <a:cubicBezTo>
                      <a:pt x="13657" y="9799"/>
                      <a:pt x="14074" y="8442"/>
                      <a:pt x="14074" y="7049"/>
                    </a:cubicBezTo>
                    <a:lnTo>
                      <a:pt x="14074" y="7013"/>
                    </a:lnTo>
                    <a:close/>
                    <a:moveTo>
                      <a:pt x="1334" y="8192"/>
                    </a:moveTo>
                    <a:lnTo>
                      <a:pt x="132" y="8430"/>
                    </a:lnTo>
                    <a:cubicBezTo>
                      <a:pt x="417" y="9799"/>
                      <a:pt x="1072" y="11049"/>
                      <a:pt x="2060" y="12026"/>
                    </a:cubicBezTo>
                    <a:lnTo>
                      <a:pt x="2930" y="11157"/>
                    </a:lnTo>
                    <a:cubicBezTo>
                      <a:pt x="2108" y="10347"/>
                      <a:pt x="1560" y="9323"/>
                      <a:pt x="1334" y="8192"/>
                    </a:cubicBezTo>
                    <a:close/>
                    <a:moveTo>
                      <a:pt x="11145" y="11145"/>
                    </a:moveTo>
                    <a:cubicBezTo>
                      <a:pt x="10335" y="11966"/>
                      <a:pt x="9311" y="12514"/>
                      <a:pt x="8180" y="12740"/>
                    </a:cubicBezTo>
                    <a:lnTo>
                      <a:pt x="8418" y="13955"/>
                    </a:lnTo>
                    <a:cubicBezTo>
                      <a:pt x="9776" y="13681"/>
                      <a:pt x="11026" y="13014"/>
                      <a:pt x="12002" y="12014"/>
                    </a:cubicBezTo>
                    <a:lnTo>
                      <a:pt x="11145" y="11145"/>
                    </a:lnTo>
                    <a:close/>
                    <a:moveTo>
                      <a:pt x="3823" y="11883"/>
                    </a:moveTo>
                    <a:lnTo>
                      <a:pt x="3132" y="12907"/>
                    </a:lnTo>
                    <a:cubicBezTo>
                      <a:pt x="4299" y="13681"/>
                      <a:pt x="5656" y="14085"/>
                      <a:pt x="7049" y="14085"/>
                    </a:cubicBezTo>
                    <a:lnTo>
                      <a:pt x="7037" y="12847"/>
                    </a:lnTo>
                    <a:cubicBezTo>
                      <a:pt x="5894" y="12847"/>
                      <a:pt x="4775" y="12526"/>
                      <a:pt x="3823" y="11883"/>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591;p35"/>
              <p:cNvSpPr/>
              <p:nvPr/>
            </p:nvSpPr>
            <p:spPr>
              <a:xfrm>
                <a:off x="2805400" y="1659250"/>
                <a:ext cx="115525" cy="115525"/>
              </a:xfrm>
              <a:custGeom>
                <a:avLst/>
                <a:gdLst/>
                <a:ahLst/>
                <a:cxnLst/>
                <a:rect l="l" t="t" r="r" b="b"/>
                <a:pathLst>
                  <a:path w="4621" h="4621" extrusionOk="0">
                    <a:moveTo>
                      <a:pt x="4620" y="2311"/>
                    </a:moveTo>
                    <a:cubicBezTo>
                      <a:pt x="4620" y="3585"/>
                      <a:pt x="3584" y="4621"/>
                      <a:pt x="2310" y="4621"/>
                    </a:cubicBezTo>
                    <a:cubicBezTo>
                      <a:pt x="1024" y="4621"/>
                      <a:pt x="0" y="3585"/>
                      <a:pt x="0" y="2311"/>
                    </a:cubicBezTo>
                    <a:cubicBezTo>
                      <a:pt x="0" y="1025"/>
                      <a:pt x="1024" y="1"/>
                      <a:pt x="2310" y="1"/>
                    </a:cubicBezTo>
                    <a:cubicBezTo>
                      <a:pt x="3584" y="1"/>
                      <a:pt x="4620" y="1025"/>
                      <a:pt x="4620" y="2311"/>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592;p35"/>
              <p:cNvSpPr/>
              <p:nvPr/>
            </p:nvSpPr>
            <p:spPr>
              <a:xfrm>
                <a:off x="2836650" y="1690525"/>
                <a:ext cx="53000" cy="53000"/>
              </a:xfrm>
              <a:custGeom>
                <a:avLst/>
                <a:gdLst/>
                <a:ahLst/>
                <a:cxnLst/>
                <a:rect l="l" t="t" r="r" b="b"/>
                <a:pathLst>
                  <a:path w="2120" h="2120" extrusionOk="0">
                    <a:moveTo>
                      <a:pt x="2120" y="1060"/>
                    </a:moveTo>
                    <a:cubicBezTo>
                      <a:pt x="2120" y="1643"/>
                      <a:pt x="1644" y="2119"/>
                      <a:pt x="1060" y="2119"/>
                    </a:cubicBezTo>
                    <a:cubicBezTo>
                      <a:pt x="477" y="2119"/>
                      <a:pt x="1" y="1643"/>
                      <a:pt x="1" y="1060"/>
                    </a:cubicBezTo>
                    <a:cubicBezTo>
                      <a:pt x="1" y="476"/>
                      <a:pt x="477" y="0"/>
                      <a:pt x="1060" y="0"/>
                    </a:cubicBezTo>
                    <a:cubicBezTo>
                      <a:pt x="1644" y="0"/>
                      <a:pt x="2120" y="464"/>
                      <a:pt x="2120" y="1060"/>
                    </a:cubicBezTo>
                    <a:close/>
                  </a:path>
                </a:pathLst>
              </a:custGeom>
              <a:solidFill>
                <a:srgbClr val="6B6A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593;p35"/>
              <p:cNvSpPr/>
              <p:nvPr/>
            </p:nvSpPr>
            <p:spPr>
              <a:xfrm>
                <a:off x="1473100" y="1193125"/>
                <a:ext cx="2043725" cy="122075"/>
              </a:xfrm>
              <a:custGeom>
                <a:avLst/>
                <a:gdLst/>
                <a:ahLst/>
                <a:cxnLst/>
                <a:rect l="l" t="t" r="r" b="b"/>
                <a:pathLst>
                  <a:path w="81749" h="4883" extrusionOk="0">
                    <a:moveTo>
                      <a:pt x="726" y="4882"/>
                    </a:moveTo>
                    <a:lnTo>
                      <a:pt x="357" y="1334"/>
                    </a:lnTo>
                    <a:cubicBezTo>
                      <a:pt x="298" y="787"/>
                      <a:pt x="726" y="299"/>
                      <a:pt x="1298" y="299"/>
                    </a:cubicBezTo>
                    <a:lnTo>
                      <a:pt x="80772" y="299"/>
                    </a:lnTo>
                    <a:cubicBezTo>
                      <a:pt x="81248" y="299"/>
                      <a:pt x="81617" y="703"/>
                      <a:pt x="81570" y="1180"/>
                    </a:cubicBezTo>
                    <a:lnTo>
                      <a:pt x="81260" y="4597"/>
                    </a:lnTo>
                    <a:lnTo>
                      <a:pt x="81427" y="4597"/>
                    </a:lnTo>
                    <a:lnTo>
                      <a:pt x="81725" y="834"/>
                    </a:lnTo>
                    <a:cubicBezTo>
                      <a:pt x="81748" y="382"/>
                      <a:pt x="81403" y="1"/>
                      <a:pt x="80951" y="1"/>
                    </a:cubicBezTo>
                    <a:lnTo>
                      <a:pt x="1262" y="1"/>
                    </a:lnTo>
                    <a:cubicBezTo>
                      <a:pt x="548" y="1"/>
                      <a:pt x="0" y="608"/>
                      <a:pt x="71" y="1322"/>
                    </a:cubicBezTo>
                    <a:lnTo>
                      <a:pt x="429" y="4882"/>
                    </a:lnTo>
                    <a:lnTo>
                      <a:pt x="726" y="4882"/>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594;p35"/>
              <p:cNvSpPr/>
              <p:nvPr/>
            </p:nvSpPr>
            <p:spPr>
              <a:xfrm>
                <a:off x="2059775" y="1414000"/>
                <a:ext cx="881375" cy="579850"/>
              </a:xfrm>
              <a:custGeom>
                <a:avLst/>
                <a:gdLst/>
                <a:ahLst/>
                <a:cxnLst/>
                <a:rect l="l" t="t" r="r" b="b"/>
                <a:pathLst>
                  <a:path w="35255" h="23194" extrusionOk="0">
                    <a:moveTo>
                      <a:pt x="0" y="96"/>
                    </a:moveTo>
                    <a:lnTo>
                      <a:pt x="1310" y="23194"/>
                    </a:lnTo>
                    <a:lnTo>
                      <a:pt x="34481" y="23194"/>
                    </a:lnTo>
                    <a:lnTo>
                      <a:pt x="3525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595;p35"/>
              <p:cNvSpPr/>
              <p:nvPr/>
            </p:nvSpPr>
            <p:spPr>
              <a:xfrm>
                <a:off x="2135075" y="1444650"/>
                <a:ext cx="743575" cy="525400"/>
              </a:xfrm>
              <a:custGeom>
                <a:avLst/>
                <a:gdLst/>
                <a:ahLst/>
                <a:cxnLst/>
                <a:rect l="l" t="t" r="r" b="b"/>
                <a:pathLst>
                  <a:path w="29743" h="21016" extrusionOk="0">
                    <a:moveTo>
                      <a:pt x="2060" y="21003"/>
                    </a:moveTo>
                    <a:lnTo>
                      <a:pt x="27825" y="20848"/>
                    </a:lnTo>
                    <a:cubicBezTo>
                      <a:pt x="28373" y="20848"/>
                      <a:pt x="28837" y="20444"/>
                      <a:pt x="28849" y="19944"/>
                    </a:cubicBezTo>
                    <a:lnTo>
                      <a:pt x="29719" y="977"/>
                    </a:lnTo>
                    <a:cubicBezTo>
                      <a:pt x="29742" y="441"/>
                      <a:pt x="29266" y="1"/>
                      <a:pt x="28671" y="1"/>
                    </a:cubicBezTo>
                    <a:lnTo>
                      <a:pt x="1072" y="1"/>
                    </a:lnTo>
                    <a:cubicBezTo>
                      <a:pt x="477" y="1"/>
                      <a:pt x="1" y="441"/>
                      <a:pt x="24" y="989"/>
                    </a:cubicBezTo>
                    <a:lnTo>
                      <a:pt x="1024" y="20098"/>
                    </a:lnTo>
                    <a:cubicBezTo>
                      <a:pt x="1048" y="20610"/>
                      <a:pt x="1513" y="21015"/>
                      <a:pt x="2060" y="21003"/>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596;p35"/>
              <p:cNvSpPr/>
              <p:nvPr/>
            </p:nvSpPr>
            <p:spPr>
              <a:xfrm>
                <a:off x="2145800" y="1451800"/>
                <a:ext cx="723025" cy="510800"/>
              </a:xfrm>
              <a:custGeom>
                <a:avLst/>
                <a:gdLst/>
                <a:ahLst/>
                <a:cxnLst/>
                <a:rect l="l" t="t" r="r" b="b"/>
                <a:pathLst>
                  <a:path w="28921" h="20432" extrusionOk="0">
                    <a:moveTo>
                      <a:pt x="28897" y="965"/>
                    </a:moveTo>
                    <a:lnTo>
                      <a:pt x="28813" y="2882"/>
                    </a:lnTo>
                    <a:lnTo>
                      <a:pt x="28813" y="2882"/>
                    </a:lnTo>
                    <a:lnTo>
                      <a:pt x="28539" y="8763"/>
                    </a:lnTo>
                    <a:lnTo>
                      <a:pt x="28147" y="17562"/>
                    </a:lnTo>
                    <a:lnTo>
                      <a:pt x="28051" y="19408"/>
                    </a:lnTo>
                    <a:cubicBezTo>
                      <a:pt x="28016" y="19896"/>
                      <a:pt x="27587" y="20277"/>
                      <a:pt x="27051" y="20277"/>
                    </a:cubicBezTo>
                    <a:lnTo>
                      <a:pt x="2000" y="20431"/>
                    </a:lnTo>
                    <a:cubicBezTo>
                      <a:pt x="1465" y="20431"/>
                      <a:pt x="1012" y="20039"/>
                      <a:pt x="988" y="19550"/>
                    </a:cubicBezTo>
                    <a:lnTo>
                      <a:pt x="917" y="18038"/>
                    </a:lnTo>
                    <a:lnTo>
                      <a:pt x="476" y="9347"/>
                    </a:lnTo>
                    <a:lnTo>
                      <a:pt x="131" y="2882"/>
                    </a:lnTo>
                    <a:lnTo>
                      <a:pt x="24" y="965"/>
                    </a:lnTo>
                    <a:cubicBezTo>
                      <a:pt x="0" y="441"/>
                      <a:pt x="453" y="0"/>
                      <a:pt x="1036" y="0"/>
                    </a:cubicBezTo>
                    <a:lnTo>
                      <a:pt x="27897" y="0"/>
                    </a:lnTo>
                    <a:cubicBezTo>
                      <a:pt x="28456" y="0"/>
                      <a:pt x="28920" y="441"/>
                      <a:pt x="28897" y="965"/>
                    </a:cubicBezTo>
                    <a:close/>
                  </a:path>
                </a:pathLst>
              </a:custGeom>
              <a:solidFill>
                <a:srgbClr val="EAE5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597;p35"/>
              <p:cNvSpPr/>
              <p:nvPr/>
            </p:nvSpPr>
            <p:spPr>
              <a:xfrm>
                <a:off x="2452075" y="1414600"/>
                <a:ext cx="411100" cy="20550"/>
              </a:xfrm>
              <a:custGeom>
                <a:avLst/>
                <a:gdLst/>
                <a:ahLst/>
                <a:cxnLst/>
                <a:rect l="l" t="t" r="r" b="b"/>
                <a:pathLst>
                  <a:path w="16444" h="822" extrusionOk="0">
                    <a:moveTo>
                      <a:pt x="203" y="83"/>
                    </a:moveTo>
                    <a:lnTo>
                      <a:pt x="1" y="822"/>
                    </a:lnTo>
                    <a:lnTo>
                      <a:pt x="16098" y="691"/>
                    </a:lnTo>
                    <a:lnTo>
                      <a:pt x="16443" y="0"/>
                    </a:lnTo>
                    <a:close/>
                  </a:path>
                </a:pathLst>
              </a:custGeom>
              <a:solidFill>
                <a:srgbClr val="CECED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598;p35"/>
              <p:cNvSpPr/>
              <p:nvPr/>
            </p:nvSpPr>
            <p:spPr>
              <a:xfrm>
                <a:off x="2144900" y="1451800"/>
                <a:ext cx="723925" cy="236050"/>
              </a:xfrm>
              <a:custGeom>
                <a:avLst/>
                <a:gdLst/>
                <a:ahLst/>
                <a:cxnLst/>
                <a:rect l="l" t="t" r="r" b="b"/>
                <a:pathLst>
                  <a:path w="28957" h="9442" extrusionOk="0">
                    <a:moveTo>
                      <a:pt x="28933" y="965"/>
                    </a:moveTo>
                    <a:lnTo>
                      <a:pt x="28849" y="2882"/>
                    </a:lnTo>
                    <a:lnTo>
                      <a:pt x="28849" y="2882"/>
                    </a:lnTo>
                    <a:lnTo>
                      <a:pt x="28575" y="8763"/>
                    </a:lnTo>
                    <a:lnTo>
                      <a:pt x="512" y="9442"/>
                    </a:lnTo>
                    <a:lnTo>
                      <a:pt x="477" y="9347"/>
                    </a:lnTo>
                    <a:lnTo>
                      <a:pt x="143" y="2882"/>
                    </a:lnTo>
                    <a:lnTo>
                      <a:pt x="36" y="965"/>
                    </a:lnTo>
                    <a:cubicBezTo>
                      <a:pt x="0" y="441"/>
                      <a:pt x="465" y="0"/>
                      <a:pt x="1048" y="0"/>
                    </a:cubicBezTo>
                    <a:lnTo>
                      <a:pt x="27909" y="0"/>
                    </a:lnTo>
                    <a:cubicBezTo>
                      <a:pt x="28492" y="0"/>
                      <a:pt x="28956" y="441"/>
                      <a:pt x="28933" y="965"/>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599;p35"/>
              <p:cNvSpPr/>
              <p:nvPr/>
            </p:nvSpPr>
            <p:spPr>
              <a:xfrm>
                <a:off x="1490950" y="1970025"/>
                <a:ext cx="2018125" cy="23825"/>
              </a:xfrm>
              <a:custGeom>
                <a:avLst/>
                <a:gdLst/>
                <a:ahLst/>
                <a:cxnLst/>
                <a:rect l="l" t="t" r="r" b="b"/>
                <a:pathLst>
                  <a:path w="80725" h="953" extrusionOk="0">
                    <a:moveTo>
                      <a:pt x="0" y="953"/>
                    </a:moveTo>
                    <a:lnTo>
                      <a:pt x="80713" y="953"/>
                    </a:lnTo>
                    <a:lnTo>
                      <a:pt x="80725" y="405"/>
                    </a:lnTo>
                    <a:lnTo>
                      <a:pt x="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600;p35"/>
              <p:cNvSpPr/>
              <p:nvPr/>
            </p:nvSpPr>
            <p:spPr>
              <a:xfrm>
                <a:off x="1471600" y="1412500"/>
                <a:ext cx="2052950" cy="31275"/>
              </a:xfrm>
              <a:custGeom>
                <a:avLst/>
                <a:gdLst/>
                <a:ahLst/>
                <a:cxnLst/>
                <a:rect l="l" t="t" r="r" b="b"/>
                <a:pathLst>
                  <a:path w="82118" h="1251" extrusionOk="0">
                    <a:moveTo>
                      <a:pt x="1" y="1251"/>
                    </a:moveTo>
                    <a:lnTo>
                      <a:pt x="81963" y="1037"/>
                    </a:lnTo>
                    <a:lnTo>
                      <a:pt x="82118" y="1"/>
                    </a:lnTo>
                    <a:lnTo>
                      <a:pt x="108" y="215"/>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4" name="Google Shape;569;p35">
            <a:extLst>
              <a:ext uri="{FF2B5EF4-FFF2-40B4-BE49-F238E27FC236}">
                <a16:creationId xmlns:a16="http://schemas.microsoft.com/office/drawing/2014/main" id="{F96D8422-56E3-4FBC-8A95-159C5B13AA12}"/>
              </a:ext>
            </a:extLst>
          </p:cNvPr>
          <p:cNvGrpSpPr/>
          <p:nvPr/>
        </p:nvGrpSpPr>
        <p:grpSpPr>
          <a:xfrm rot="5400000">
            <a:off x="1199646" y="3677850"/>
            <a:ext cx="432190" cy="266265"/>
            <a:chOff x="1037255" y="4051434"/>
            <a:chExt cx="496200" cy="305700"/>
          </a:xfrm>
        </p:grpSpPr>
        <p:sp>
          <p:nvSpPr>
            <p:cNvPr id="45" name="Google Shape;570;p35">
              <a:extLst>
                <a:ext uri="{FF2B5EF4-FFF2-40B4-BE49-F238E27FC236}">
                  <a16:creationId xmlns:a16="http://schemas.microsoft.com/office/drawing/2014/main" id="{2C98928D-062A-4CF6-BB48-CA58162CB06F}"/>
                </a:ext>
              </a:extLst>
            </p:cNvPr>
            <p:cNvSpPr/>
            <p:nvPr/>
          </p:nvSpPr>
          <p:spPr>
            <a:xfrm>
              <a:off x="1037255" y="4051434"/>
              <a:ext cx="305700" cy="305700"/>
            </a:xfrm>
            <a:prstGeom prst="ellipse">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571;p35">
              <a:extLst>
                <a:ext uri="{FF2B5EF4-FFF2-40B4-BE49-F238E27FC236}">
                  <a16:creationId xmlns:a16="http://schemas.microsoft.com/office/drawing/2014/main" id="{6DCBFD2F-41CF-4FDB-A768-837E772663D7}"/>
                </a:ext>
              </a:extLst>
            </p:cNvPr>
            <p:cNvSpPr/>
            <p:nvPr/>
          </p:nvSpPr>
          <p:spPr>
            <a:xfrm>
              <a:off x="1227755" y="4051434"/>
              <a:ext cx="305700" cy="3057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997"/>
        <p:cNvGrpSpPr/>
        <p:nvPr/>
      </p:nvGrpSpPr>
      <p:grpSpPr>
        <a:xfrm>
          <a:off x="0" y="0"/>
          <a:ext cx="0" cy="0"/>
          <a:chOff x="0" y="0"/>
          <a:chExt cx="0" cy="0"/>
        </a:xfrm>
      </p:grpSpPr>
      <p:grpSp>
        <p:nvGrpSpPr>
          <p:cNvPr id="998" name="Google Shape;998;p49"/>
          <p:cNvGrpSpPr/>
          <p:nvPr/>
        </p:nvGrpSpPr>
        <p:grpSpPr>
          <a:xfrm>
            <a:off x="3025350" y="2137732"/>
            <a:ext cx="3093100" cy="1912563"/>
            <a:chOff x="3025350" y="2137732"/>
            <a:chExt cx="3093100" cy="1912563"/>
          </a:xfrm>
        </p:grpSpPr>
        <p:sp>
          <p:nvSpPr>
            <p:cNvPr id="999" name="Google Shape;999;p49"/>
            <p:cNvSpPr/>
            <p:nvPr/>
          </p:nvSpPr>
          <p:spPr>
            <a:xfrm rot="5400000">
              <a:off x="3128925" y="2134882"/>
              <a:ext cx="1912500" cy="1918200"/>
            </a:xfrm>
            <a:prstGeom prst="ellipse">
              <a:avLst/>
            </a:prstGeom>
            <a:noFill/>
            <a:ln w="19050"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0" name="Google Shape;1000;p49"/>
            <p:cNvGrpSpPr/>
            <p:nvPr/>
          </p:nvGrpSpPr>
          <p:grpSpPr>
            <a:xfrm>
              <a:off x="3297236" y="2137732"/>
              <a:ext cx="2551364" cy="1912563"/>
              <a:chOff x="3297666" y="2137732"/>
              <a:chExt cx="2551364" cy="1912563"/>
            </a:xfrm>
          </p:grpSpPr>
          <p:sp>
            <p:nvSpPr>
              <p:cNvPr id="1001" name="Google Shape;1001;p49"/>
              <p:cNvSpPr/>
              <p:nvPr/>
            </p:nvSpPr>
            <p:spPr>
              <a:xfrm rot="5400000">
                <a:off x="3300424" y="2134974"/>
                <a:ext cx="1912563" cy="1918080"/>
              </a:xfrm>
              <a:prstGeom prst="ellipse">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 name="Google Shape;1002;p49"/>
              <p:cNvSpPr/>
              <p:nvPr/>
            </p:nvSpPr>
            <p:spPr>
              <a:xfrm rot="5400000">
                <a:off x="3933708" y="2134974"/>
                <a:ext cx="1912563" cy="191808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3" name="Google Shape;1003;p49"/>
            <p:cNvSpPr/>
            <p:nvPr/>
          </p:nvSpPr>
          <p:spPr>
            <a:xfrm rot="5400000">
              <a:off x="4102575" y="2134882"/>
              <a:ext cx="1912500" cy="1918200"/>
            </a:xfrm>
            <a:prstGeom prst="ellipse">
              <a:avLst/>
            </a:prstGeom>
            <a:noFill/>
            <a:ln w="1905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4" name="Google Shape;1004;p49"/>
            <p:cNvGrpSpPr/>
            <p:nvPr/>
          </p:nvGrpSpPr>
          <p:grpSpPr>
            <a:xfrm>
              <a:off x="3579830" y="2556385"/>
              <a:ext cx="1984340" cy="1073354"/>
              <a:chOff x="1443025" y="1086275"/>
              <a:chExt cx="2111000" cy="1145400"/>
            </a:xfrm>
          </p:grpSpPr>
          <p:sp>
            <p:nvSpPr>
              <p:cNvPr id="1005" name="Google Shape;1005;p49"/>
              <p:cNvSpPr/>
              <p:nvPr/>
            </p:nvSpPr>
            <p:spPr>
              <a:xfrm>
                <a:off x="1443025" y="1086275"/>
                <a:ext cx="2111000" cy="229225"/>
              </a:xfrm>
              <a:custGeom>
                <a:avLst/>
                <a:gdLst/>
                <a:ahLst/>
                <a:cxnLst/>
                <a:rect l="l" t="t" r="r" b="b"/>
                <a:pathLst>
                  <a:path w="84440" h="9169" extrusionOk="0">
                    <a:moveTo>
                      <a:pt x="84416" y="1679"/>
                    </a:moveTo>
                    <a:lnTo>
                      <a:pt x="84190" y="8883"/>
                    </a:lnTo>
                    <a:lnTo>
                      <a:pt x="274" y="9168"/>
                    </a:lnTo>
                    <a:lnTo>
                      <a:pt x="24" y="1703"/>
                    </a:lnTo>
                    <a:cubicBezTo>
                      <a:pt x="1" y="774"/>
                      <a:pt x="739" y="12"/>
                      <a:pt x="1667" y="12"/>
                    </a:cubicBezTo>
                    <a:lnTo>
                      <a:pt x="82785" y="12"/>
                    </a:lnTo>
                    <a:cubicBezTo>
                      <a:pt x="83701" y="1"/>
                      <a:pt x="84440" y="763"/>
                      <a:pt x="84416" y="1679"/>
                    </a:cubicBez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 name="Google Shape;1006;p49"/>
              <p:cNvSpPr/>
              <p:nvPr/>
            </p:nvSpPr>
            <p:spPr>
              <a:xfrm>
                <a:off x="1450175" y="1200575"/>
                <a:ext cx="2097600" cy="1031100"/>
              </a:xfrm>
              <a:custGeom>
                <a:avLst/>
                <a:gdLst/>
                <a:ahLst/>
                <a:cxnLst/>
                <a:rect l="l" t="t" r="r" b="b"/>
                <a:pathLst>
                  <a:path w="83904" h="41244" extrusionOk="0">
                    <a:moveTo>
                      <a:pt x="82070" y="5418"/>
                    </a:moveTo>
                    <a:lnTo>
                      <a:pt x="82106" y="5418"/>
                    </a:lnTo>
                    <a:lnTo>
                      <a:pt x="82427" y="893"/>
                    </a:lnTo>
                    <a:cubicBezTo>
                      <a:pt x="82463" y="417"/>
                      <a:pt x="82082" y="1"/>
                      <a:pt x="81606" y="1"/>
                    </a:cubicBezTo>
                    <a:lnTo>
                      <a:pt x="2155" y="1"/>
                    </a:lnTo>
                    <a:cubicBezTo>
                      <a:pt x="1655" y="1"/>
                      <a:pt x="1286" y="417"/>
                      <a:pt x="1334" y="893"/>
                    </a:cubicBezTo>
                    <a:lnTo>
                      <a:pt x="1691" y="5025"/>
                    </a:lnTo>
                    <a:lnTo>
                      <a:pt x="0" y="5013"/>
                    </a:lnTo>
                    <a:lnTo>
                      <a:pt x="1072" y="37196"/>
                    </a:lnTo>
                    <a:cubicBezTo>
                      <a:pt x="1155" y="39303"/>
                      <a:pt x="2882" y="41006"/>
                      <a:pt x="5001" y="41006"/>
                    </a:cubicBezTo>
                    <a:lnTo>
                      <a:pt x="79070" y="41220"/>
                    </a:lnTo>
                    <a:cubicBezTo>
                      <a:pt x="81213" y="41244"/>
                      <a:pt x="82963" y="39529"/>
                      <a:pt x="83023" y="37386"/>
                    </a:cubicBezTo>
                    <a:lnTo>
                      <a:pt x="83904" y="5406"/>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 name="Google Shape;1007;p49"/>
              <p:cNvSpPr/>
              <p:nvPr/>
            </p:nvSpPr>
            <p:spPr>
              <a:xfrm>
                <a:off x="1471900" y="1218725"/>
                <a:ext cx="2053850" cy="995400"/>
              </a:xfrm>
              <a:custGeom>
                <a:avLst/>
                <a:gdLst/>
                <a:ahLst/>
                <a:cxnLst/>
                <a:rect l="l" t="t" r="r" b="b"/>
                <a:pathLst>
                  <a:path w="82154" h="39816" extrusionOk="0">
                    <a:moveTo>
                      <a:pt x="4382" y="39601"/>
                    </a:moveTo>
                    <a:cubicBezTo>
                      <a:pt x="2560" y="39601"/>
                      <a:pt x="1108" y="38172"/>
                      <a:pt x="1048" y="36374"/>
                    </a:cubicBezTo>
                    <a:lnTo>
                      <a:pt x="0" y="4989"/>
                    </a:lnTo>
                    <a:lnTo>
                      <a:pt x="1715" y="5001"/>
                    </a:lnTo>
                    <a:lnTo>
                      <a:pt x="1298" y="275"/>
                    </a:lnTo>
                    <a:cubicBezTo>
                      <a:pt x="1286" y="179"/>
                      <a:pt x="1322" y="108"/>
                      <a:pt x="1358" y="72"/>
                    </a:cubicBezTo>
                    <a:cubicBezTo>
                      <a:pt x="1382" y="48"/>
                      <a:pt x="1441" y="1"/>
                      <a:pt x="1536" y="1"/>
                    </a:cubicBezTo>
                    <a:lnTo>
                      <a:pt x="80475" y="1"/>
                    </a:lnTo>
                    <a:cubicBezTo>
                      <a:pt x="80558" y="1"/>
                      <a:pt x="80618" y="48"/>
                      <a:pt x="80653" y="72"/>
                    </a:cubicBezTo>
                    <a:cubicBezTo>
                      <a:pt x="80677" y="108"/>
                      <a:pt x="80725" y="167"/>
                      <a:pt x="80713" y="275"/>
                    </a:cubicBezTo>
                    <a:lnTo>
                      <a:pt x="80403" y="5370"/>
                    </a:lnTo>
                    <a:lnTo>
                      <a:pt x="82154" y="5394"/>
                    </a:lnTo>
                    <a:lnTo>
                      <a:pt x="81320" y="36565"/>
                    </a:lnTo>
                    <a:cubicBezTo>
                      <a:pt x="81272" y="38398"/>
                      <a:pt x="79808" y="39815"/>
                      <a:pt x="77986" y="39815"/>
                    </a:cubicBezTo>
                    <a:cubicBezTo>
                      <a:pt x="77974" y="39815"/>
                      <a:pt x="4382" y="39601"/>
                      <a:pt x="4382" y="39601"/>
                    </a:cubicBezTo>
                    <a:close/>
                  </a:path>
                </a:pathLst>
              </a:custGeom>
              <a:solidFill>
                <a:srgbClr val="2118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 name="Google Shape;1008;p49"/>
              <p:cNvSpPr/>
              <p:nvPr/>
            </p:nvSpPr>
            <p:spPr>
              <a:xfrm>
                <a:off x="1471900" y="1412200"/>
                <a:ext cx="2052650" cy="581650"/>
              </a:xfrm>
              <a:custGeom>
                <a:avLst/>
                <a:gdLst/>
                <a:ahLst/>
                <a:cxnLst/>
                <a:rect l="l" t="t" r="r" b="b"/>
                <a:pathLst>
                  <a:path w="82106" h="23266" extrusionOk="0">
                    <a:moveTo>
                      <a:pt x="10704" y="23266"/>
                    </a:moveTo>
                    <a:cubicBezTo>
                      <a:pt x="9811" y="23266"/>
                      <a:pt x="774" y="22301"/>
                      <a:pt x="774" y="22301"/>
                    </a:cubicBezTo>
                    <a:lnTo>
                      <a:pt x="0" y="1251"/>
                    </a:lnTo>
                    <a:cubicBezTo>
                      <a:pt x="0" y="1251"/>
                      <a:pt x="9287" y="310"/>
                      <a:pt x="10276" y="298"/>
                    </a:cubicBezTo>
                    <a:lnTo>
                      <a:pt x="12907" y="287"/>
                    </a:lnTo>
                    <a:lnTo>
                      <a:pt x="60603" y="48"/>
                    </a:lnTo>
                    <a:lnTo>
                      <a:pt x="71236" y="1"/>
                    </a:lnTo>
                    <a:lnTo>
                      <a:pt x="82106" y="1"/>
                    </a:lnTo>
                    <a:lnTo>
                      <a:pt x="81487" y="22694"/>
                    </a:lnTo>
                    <a:cubicBezTo>
                      <a:pt x="81487" y="22694"/>
                      <a:pt x="71986" y="23254"/>
                      <a:pt x="71033" y="23254"/>
                    </a:cubicBezTo>
                    <a:lnTo>
                      <a:pt x="10704" y="23254"/>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 name="Google Shape;1009;p49"/>
              <p:cNvSpPr/>
              <p:nvPr/>
            </p:nvSpPr>
            <p:spPr>
              <a:xfrm>
                <a:off x="1574000" y="1437200"/>
                <a:ext cx="1814525" cy="532550"/>
              </a:xfrm>
              <a:custGeom>
                <a:avLst/>
                <a:gdLst/>
                <a:ahLst/>
                <a:cxnLst/>
                <a:rect l="l" t="t" r="r" b="b"/>
                <a:pathLst>
                  <a:path w="72581" h="21302" extrusionOk="0">
                    <a:moveTo>
                      <a:pt x="68461" y="20230"/>
                    </a:moveTo>
                    <a:cubicBezTo>
                      <a:pt x="68104" y="20896"/>
                      <a:pt x="67413" y="21301"/>
                      <a:pt x="66675" y="21301"/>
                    </a:cubicBezTo>
                    <a:lnTo>
                      <a:pt x="6882" y="21301"/>
                    </a:lnTo>
                    <a:cubicBezTo>
                      <a:pt x="6203" y="21301"/>
                      <a:pt x="5560" y="20956"/>
                      <a:pt x="5191" y="20361"/>
                    </a:cubicBezTo>
                    <a:cubicBezTo>
                      <a:pt x="3596" y="17872"/>
                      <a:pt x="0" y="10621"/>
                      <a:pt x="4668" y="1394"/>
                    </a:cubicBezTo>
                    <a:cubicBezTo>
                      <a:pt x="5013" y="727"/>
                      <a:pt x="5691" y="311"/>
                      <a:pt x="6453" y="299"/>
                    </a:cubicBezTo>
                    <a:lnTo>
                      <a:pt x="9061" y="287"/>
                    </a:lnTo>
                    <a:lnTo>
                      <a:pt x="35386" y="144"/>
                    </a:lnTo>
                    <a:lnTo>
                      <a:pt x="46673" y="84"/>
                    </a:lnTo>
                    <a:lnTo>
                      <a:pt x="46673" y="84"/>
                    </a:lnTo>
                    <a:lnTo>
                      <a:pt x="56329" y="37"/>
                    </a:lnTo>
                    <a:lnTo>
                      <a:pt x="56329" y="37"/>
                    </a:lnTo>
                    <a:lnTo>
                      <a:pt x="66854" y="1"/>
                    </a:lnTo>
                    <a:cubicBezTo>
                      <a:pt x="67663" y="1"/>
                      <a:pt x="68414" y="501"/>
                      <a:pt x="68735" y="1275"/>
                    </a:cubicBezTo>
                    <a:cubicBezTo>
                      <a:pt x="70021" y="4418"/>
                      <a:pt x="72581" y="12622"/>
                      <a:pt x="68461" y="20230"/>
                    </a:cubicBezTo>
                    <a:close/>
                  </a:path>
                </a:pathLst>
              </a:custGeom>
              <a:solidFill>
                <a:srgbClr val="8A70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 name="Google Shape;1010;p49"/>
              <p:cNvSpPr/>
              <p:nvPr/>
            </p:nvSpPr>
            <p:spPr>
              <a:xfrm>
                <a:off x="1703475" y="1441675"/>
                <a:ext cx="855500" cy="528075"/>
              </a:xfrm>
              <a:custGeom>
                <a:avLst/>
                <a:gdLst/>
                <a:ahLst/>
                <a:cxnLst/>
                <a:rect l="l" t="t" r="r" b="b"/>
                <a:pathLst>
                  <a:path w="34220" h="21123" extrusionOk="0">
                    <a:moveTo>
                      <a:pt x="34219" y="11002"/>
                    </a:moveTo>
                    <a:cubicBezTo>
                      <a:pt x="34219" y="14776"/>
                      <a:pt x="32993" y="18289"/>
                      <a:pt x="30909" y="21122"/>
                    </a:cubicBezTo>
                    <a:lnTo>
                      <a:pt x="3310" y="21122"/>
                    </a:lnTo>
                    <a:cubicBezTo>
                      <a:pt x="1227" y="18289"/>
                      <a:pt x="0" y="14776"/>
                      <a:pt x="0" y="11002"/>
                    </a:cubicBezTo>
                    <a:cubicBezTo>
                      <a:pt x="0" y="6870"/>
                      <a:pt x="1453" y="3084"/>
                      <a:pt x="3894" y="132"/>
                    </a:cubicBezTo>
                    <a:lnTo>
                      <a:pt x="30219" y="1"/>
                    </a:lnTo>
                    <a:cubicBezTo>
                      <a:pt x="32707" y="2977"/>
                      <a:pt x="34219" y="6811"/>
                      <a:pt x="34219" y="11002"/>
                    </a:cubicBezTo>
                    <a:close/>
                  </a:path>
                </a:pathLst>
              </a:custGeom>
              <a:solidFill>
                <a:srgbClr val="0C152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 name="Google Shape;1011;p49"/>
              <p:cNvSpPr/>
              <p:nvPr/>
            </p:nvSpPr>
            <p:spPr>
              <a:xfrm>
                <a:off x="1931475" y="1516975"/>
                <a:ext cx="399775" cy="399475"/>
              </a:xfrm>
              <a:custGeom>
                <a:avLst/>
                <a:gdLst/>
                <a:ahLst/>
                <a:cxnLst/>
                <a:rect l="l" t="t" r="r" b="b"/>
                <a:pathLst>
                  <a:path w="15991" h="15979" extrusionOk="0">
                    <a:moveTo>
                      <a:pt x="9192" y="668"/>
                    </a:moveTo>
                    <a:cubicBezTo>
                      <a:pt x="13240" y="1322"/>
                      <a:pt x="15991" y="5144"/>
                      <a:pt x="15324" y="9192"/>
                    </a:cubicBezTo>
                    <a:cubicBezTo>
                      <a:pt x="14657" y="13241"/>
                      <a:pt x="10847" y="15979"/>
                      <a:pt x="6799" y="15324"/>
                    </a:cubicBezTo>
                    <a:cubicBezTo>
                      <a:pt x="2751" y="14657"/>
                      <a:pt x="1" y="10847"/>
                      <a:pt x="667" y="6799"/>
                    </a:cubicBezTo>
                    <a:cubicBezTo>
                      <a:pt x="1322" y="2751"/>
                      <a:pt x="5144" y="1"/>
                      <a:pt x="9192" y="668"/>
                    </a:cubicBezTo>
                    <a:close/>
                  </a:path>
                </a:pathLst>
              </a:custGeom>
              <a:solidFill>
                <a:srgbClr val="CCCAC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 name="Google Shape;1012;p49"/>
              <p:cNvSpPr/>
              <p:nvPr/>
            </p:nvSpPr>
            <p:spPr>
              <a:xfrm>
                <a:off x="1955300" y="1540500"/>
                <a:ext cx="351850" cy="352150"/>
              </a:xfrm>
              <a:custGeom>
                <a:avLst/>
                <a:gdLst/>
                <a:ahLst/>
                <a:cxnLst/>
                <a:rect l="l" t="t" r="r" b="b"/>
                <a:pathLst>
                  <a:path w="14074" h="14086" extrusionOk="0">
                    <a:moveTo>
                      <a:pt x="7025" y="0"/>
                    </a:moveTo>
                    <a:lnTo>
                      <a:pt x="7037" y="1239"/>
                    </a:lnTo>
                    <a:cubicBezTo>
                      <a:pt x="8180" y="1239"/>
                      <a:pt x="9299" y="1584"/>
                      <a:pt x="10251" y="2203"/>
                    </a:cubicBezTo>
                    <a:lnTo>
                      <a:pt x="10918" y="1179"/>
                    </a:lnTo>
                    <a:cubicBezTo>
                      <a:pt x="9775" y="405"/>
                      <a:pt x="8418" y="0"/>
                      <a:pt x="7037" y="0"/>
                    </a:cubicBezTo>
                    <a:close/>
                    <a:moveTo>
                      <a:pt x="5644" y="155"/>
                    </a:moveTo>
                    <a:cubicBezTo>
                      <a:pt x="4275" y="417"/>
                      <a:pt x="3024" y="1096"/>
                      <a:pt x="2036" y="2084"/>
                    </a:cubicBezTo>
                    <a:lnTo>
                      <a:pt x="2917" y="2953"/>
                    </a:lnTo>
                    <a:cubicBezTo>
                      <a:pt x="3739" y="2132"/>
                      <a:pt x="4763" y="1584"/>
                      <a:pt x="5882" y="1358"/>
                    </a:cubicBezTo>
                    <a:lnTo>
                      <a:pt x="5644" y="155"/>
                    </a:lnTo>
                    <a:close/>
                    <a:moveTo>
                      <a:pt x="11978" y="2060"/>
                    </a:moveTo>
                    <a:lnTo>
                      <a:pt x="11121" y="2941"/>
                    </a:lnTo>
                    <a:cubicBezTo>
                      <a:pt x="11942" y="3751"/>
                      <a:pt x="12502" y="4763"/>
                      <a:pt x="12728" y="5894"/>
                    </a:cubicBezTo>
                    <a:lnTo>
                      <a:pt x="13919" y="5644"/>
                    </a:lnTo>
                    <a:cubicBezTo>
                      <a:pt x="13645" y="4287"/>
                      <a:pt x="12978" y="3036"/>
                      <a:pt x="11978" y="2060"/>
                    </a:cubicBezTo>
                    <a:close/>
                    <a:moveTo>
                      <a:pt x="1179" y="3144"/>
                    </a:moveTo>
                    <a:cubicBezTo>
                      <a:pt x="405" y="4310"/>
                      <a:pt x="0" y="5656"/>
                      <a:pt x="0" y="7061"/>
                    </a:cubicBezTo>
                    <a:lnTo>
                      <a:pt x="1227" y="7049"/>
                    </a:lnTo>
                    <a:cubicBezTo>
                      <a:pt x="1227" y="5894"/>
                      <a:pt x="1560" y="4787"/>
                      <a:pt x="2203" y="3834"/>
                    </a:cubicBezTo>
                    <a:lnTo>
                      <a:pt x="1179" y="3144"/>
                    </a:lnTo>
                    <a:close/>
                    <a:moveTo>
                      <a:pt x="14073" y="7013"/>
                    </a:moveTo>
                    <a:lnTo>
                      <a:pt x="12847" y="7049"/>
                    </a:lnTo>
                    <a:cubicBezTo>
                      <a:pt x="12847" y="8204"/>
                      <a:pt x="12502" y="9323"/>
                      <a:pt x="11859" y="10275"/>
                    </a:cubicBezTo>
                    <a:lnTo>
                      <a:pt x="12883" y="10954"/>
                    </a:lnTo>
                    <a:cubicBezTo>
                      <a:pt x="13657" y="9799"/>
                      <a:pt x="14073" y="8442"/>
                      <a:pt x="14073" y="7049"/>
                    </a:cubicBezTo>
                    <a:lnTo>
                      <a:pt x="14073" y="7013"/>
                    </a:lnTo>
                    <a:close/>
                    <a:moveTo>
                      <a:pt x="1334" y="8192"/>
                    </a:moveTo>
                    <a:lnTo>
                      <a:pt x="131" y="8430"/>
                    </a:lnTo>
                    <a:cubicBezTo>
                      <a:pt x="417" y="9799"/>
                      <a:pt x="1072" y="11049"/>
                      <a:pt x="2072" y="12026"/>
                    </a:cubicBezTo>
                    <a:lnTo>
                      <a:pt x="2929" y="11157"/>
                    </a:lnTo>
                    <a:cubicBezTo>
                      <a:pt x="2108" y="10347"/>
                      <a:pt x="1560" y="9323"/>
                      <a:pt x="1334" y="8192"/>
                    </a:cubicBezTo>
                    <a:close/>
                    <a:moveTo>
                      <a:pt x="11144" y="11145"/>
                    </a:moveTo>
                    <a:cubicBezTo>
                      <a:pt x="10347" y="11966"/>
                      <a:pt x="9311" y="12514"/>
                      <a:pt x="8180" y="12740"/>
                    </a:cubicBezTo>
                    <a:lnTo>
                      <a:pt x="8418" y="13955"/>
                    </a:lnTo>
                    <a:cubicBezTo>
                      <a:pt x="9775" y="13681"/>
                      <a:pt x="11025" y="13014"/>
                      <a:pt x="12002" y="12014"/>
                    </a:cubicBezTo>
                    <a:lnTo>
                      <a:pt x="11144" y="11145"/>
                    </a:lnTo>
                    <a:close/>
                    <a:moveTo>
                      <a:pt x="3810" y="11883"/>
                    </a:moveTo>
                    <a:lnTo>
                      <a:pt x="3120" y="12907"/>
                    </a:lnTo>
                    <a:cubicBezTo>
                      <a:pt x="4286" y="13681"/>
                      <a:pt x="5644" y="14085"/>
                      <a:pt x="7037" y="14085"/>
                    </a:cubicBezTo>
                    <a:lnTo>
                      <a:pt x="7025" y="12847"/>
                    </a:lnTo>
                    <a:cubicBezTo>
                      <a:pt x="5882" y="12847"/>
                      <a:pt x="4763" y="12526"/>
                      <a:pt x="3810" y="11883"/>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 name="Google Shape;1013;p49"/>
              <p:cNvSpPr/>
              <p:nvPr/>
            </p:nvSpPr>
            <p:spPr>
              <a:xfrm>
                <a:off x="2073450" y="1659250"/>
                <a:ext cx="115525" cy="115525"/>
              </a:xfrm>
              <a:custGeom>
                <a:avLst/>
                <a:gdLst/>
                <a:ahLst/>
                <a:cxnLst/>
                <a:rect l="l" t="t" r="r" b="b"/>
                <a:pathLst>
                  <a:path w="4621" h="4621" extrusionOk="0">
                    <a:moveTo>
                      <a:pt x="4621" y="2311"/>
                    </a:moveTo>
                    <a:cubicBezTo>
                      <a:pt x="4621" y="3585"/>
                      <a:pt x="3597" y="4621"/>
                      <a:pt x="2311" y="4621"/>
                    </a:cubicBezTo>
                    <a:cubicBezTo>
                      <a:pt x="1025" y="4621"/>
                      <a:pt x="1" y="3585"/>
                      <a:pt x="1" y="2311"/>
                    </a:cubicBezTo>
                    <a:cubicBezTo>
                      <a:pt x="1" y="1025"/>
                      <a:pt x="1025" y="1"/>
                      <a:pt x="2311" y="1"/>
                    </a:cubicBezTo>
                    <a:cubicBezTo>
                      <a:pt x="3597" y="1"/>
                      <a:pt x="4621" y="1025"/>
                      <a:pt x="4621" y="2311"/>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 name="Google Shape;1014;p49"/>
              <p:cNvSpPr/>
              <p:nvPr/>
            </p:nvSpPr>
            <p:spPr>
              <a:xfrm>
                <a:off x="2104725" y="1690525"/>
                <a:ext cx="53000" cy="53000"/>
              </a:xfrm>
              <a:custGeom>
                <a:avLst/>
                <a:gdLst/>
                <a:ahLst/>
                <a:cxnLst/>
                <a:rect l="l" t="t" r="r" b="b"/>
                <a:pathLst>
                  <a:path w="2120" h="2120" extrusionOk="0">
                    <a:moveTo>
                      <a:pt x="2119" y="1060"/>
                    </a:moveTo>
                    <a:cubicBezTo>
                      <a:pt x="2119" y="1643"/>
                      <a:pt x="1643" y="2119"/>
                      <a:pt x="1060" y="2119"/>
                    </a:cubicBezTo>
                    <a:cubicBezTo>
                      <a:pt x="476" y="2119"/>
                      <a:pt x="0" y="1643"/>
                      <a:pt x="0" y="1060"/>
                    </a:cubicBezTo>
                    <a:cubicBezTo>
                      <a:pt x="0" y="476"/>
                      <a:pt x="476" y="0"/>
                      <a:pt x="1060" y="0"/>
                    </a:cubicBezTo>
                    <a:cubicBezTo>
                      <a:pt x="1643" y="0"/>
                      <a:pt x="2119" y="464"/>
                      <a:pt x="2119" y="1060"/>
                    </a:cubicBezTo>
                    <a:close/>
                  </a:path>
                </a:pathLst>
              </a:custGeom>
              <a:solidFill>
                <a:srgbClr val="6B6A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 name="Google Shape;1015;p49"/>
              <p:cNvSpPr/>
              <p:nvPr/>
            </p:nvSpPr>
            <p:spPr>
              <a:xfrm>
                <a:off x="1946650" y="1731900"/>
                <a:ext cx="96175" cy="128300"/>
              </a:xfrm>
              <a:custGeom>
                <a:avLst/>
                <a:gdLst/>
                <a:ahLst/>
                <a:cxnLst/>
                <a:rect l="l" t="t" r="r" b="b"/>
                <a:pathLst>
                  <a:path w="3847" h="5132" extrusionOk="0">
                    <a:moveTo>
                      <a:pt x="2668" y="5132"/>
                    </a:moveTo>
                    <a:lnTo>
                      <a:pt x="3847" y="3691"/>
                    </a:lnTo>
                    <a:cubicBezTo>
                      <a:pt x="3847" y="3691"/>
                      <a:pt x="1918" y="2274"/>
                      <a:pt x="1894" y="0"/>
                    </a:cubicBezTo>
                    <a:lnTo>
                      <a:pt x="13" y="286"/>
                    </a:lnTo>
                    <a:cubicBezTo>
                      <a:pt x="1" y="298"/>
                      <a:pt x="156" y="3000"/>
                      <a:pt x="2668" y="5132"/>
                    </a:cubicBezTo>
                    <a:close/>
                  </a:path>
                </a:pathLst>
              </a:custGeom>
              <a:solidFill>
                <a:srgbClr val="9B113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 name="Google Shape;1016;p49"/>
              <p:cNvSpPr/>
              <p:nvPr/>
            </p:nvSpPr>
            <p:spPr>
              <a:xfrm>
                <a:off x="2561325" y="1439000"/>
                <a:ext cx="603975" cy="530750"/>
              </a:xfrm>
              <a:custGeom>
                <a:avLst/>
                <a:gdLst/>
                <a:ahLst/>
                <a:cxnLst/>
                <a:rect l="l" t="t" r="r" b="b"/>
                <a:pathLst>
                  <a:path w="24159" h="21230" extrusionOk="0">
                    <a:moveTo>
                      <a:pt x="24158" y="11109"/>
                    </a:moveTo>
                    <a:cubicBezTo>
                      <a:pt x="24158" y="15348"/>
                      <a:pt x="21967" y="19086"/>
                      <a:pt x="18669" y="21229"/>
                    </a:cubicBezTo>
                    <a:lnTo>
                      <a:pt x="5489" y="21229"/>
                    </a:lnTo>
                    <a:cubicBezTo>
                      <a:pt x="2191" y="19062"/>
                      <a:pt x="0" y="15348"/>
                      <a:pt x="0" y="11109"/>
                    </a:cubicBezTo>
                    <a:cubicBezTo>
                      <a:pt x="0" y="6180"/>
                      <a:pt x="2965" y="1941"/>
                      <a:pt x="7192" y="48"/>
                    </a:cubicBezTo>
                    <a:lnTo>
                      <a:pt x="7192" y="48"/>
                    </a:lnTo>
                    <a:lnTo>
                      <a:pt x="16848" y="0"/>
                    </a:lnTo>
                    <a:lnTo>
                      <a:pt x="16848" y="0"/>
                    </a:lnTo>
                    <a:cubicBezTo>
                      <a:pt x="21146" y="1858"/>
                      <a:pt x="24158" y="6132"/>
                      <a:pt x="24158" y="11109"/>
                    </a:cubicBezTo>
                    <a:close/>
                  </a:path>
                </a:pathLst>
              </a:custGeom>
              <a:solidFill>
                <a:srgbClr val="0C152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 name="Google Shape;1017;p49"/>
              <p:cNvSpPr/>
              <p:nvPr/>
            </p:nvSpPr>
            <p:spPr>
              <a:xfrm>
                <a:off x="2663425" y="1516975"/>
                <a:ext cx="399475" cy="399775"/>
              </a:xfrm>
              <a:custGeom>
                <a:avLst/>
                <a:gdLst/>
                <a:ahLst/>
                <a:cxnLst/>
                <a:rect l="l" t="t" r="r" b="b"/>
                <a:pathLst>
                  <a:path w="15979" h="15991" extrusionOk="0">
                    <a:moveTo>
                      <a:pt x="9192" y="668"/>
                    </a:moveTo>
                    <a:cubicBezTo>
                      <a:pt x="13240" y="1322"/>
                      <a:pt x="15978" y="5144"/>
                      <a:pt x="15323" y="9192"/>
                    </a:cubicBezTo>
                    <a:cubicBezTo>
                      <a:pt x="14657" y="13241"/>
                      <a:pt x="10847" y="15991"/>
                      <a:pt x="6799" y="15324"/>
                    </a:cubicBezTo>
                    <a:cubicBezTo>
                      <a:pt x="2750" y="14657"/>
                      <a:pt x="0" y="10847"/>
                      <a:pt x="667" y="6799"/>
                    </a:cubicBezTo>
                    <a:cubicBezTo>
                      <a:pt x="1322" y="2751"/>
                      <a:pt x="5144" y="1"/>
                      <a:pt x="9192" y="668"/>
                    </a:cubicBezTo>
                    <a:close/>
                  </a:path>
                </a:pathLst>
              </a:custGeom>
              <a:solidFill>
                <a:srgbClr val="CCCAC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 name="Google Shape;1018;p49"/>
              <p:cNvSpPr/>
              <p:nvPr/>
            </p:nvSpPr>
            <p:spPr>
              <a:xfrm>
                <a:off x="2687225" y="1540500"/>
                <a:ext cx="351850" cy="352150"/>
              </a:xfrm>
              <a:custGeom>
                <a:avLst/>
                <a:gdLst/>
                <a:ahLst/>
                <a:cxnLst/>
                <a:rect l="l" t="t" r="r" b="b"/>
                <a:pathLst>
                  <a:path w="14074" h="14086" extrusionOk="0">
                    <a:moveTo>
                      <a:pt x="7025" y="0"/>
                    </a:moveTo>
                    <a:lnTo>
                      <a:pt x="7037" y="1239"/>
                    </a:lnTo>
                    <a:cubicBezTo>
                      <a:pt x="8180" y="1239"/>
                      <a:pt x="9299" y="1584"/>
                      <a:pt x="10252" y="2203"/>
                    </a:cubicBezTo>
                    <a:lnTo>
                      <a:pt x="10919" y="1179"/>
                    </a:lnTo>
                    <a:cubicBezTo>
                      <a:pt x="9776" y="405"/>
                      <a:pt x="8418" y="0"/>
                      <a:pt x="7037" y="0"/>
                    </a:cubicBezTo>
                    <a:close/>
                    <a:moveTo>
                      <a:pt x="5656" y="155"/>
                    </a:moveTo>
                    <a:cubicBezTo>
                      <a:pt x="4287" y="417"/>
                      <a:pt x="3037" y="1096"/>
                      <a:pt x="2049" y="2084"/>
                    </a:cubicBezTo>
                    <a:lnTo>
                      <a:pt x="2930" y="2953"/>
                    </a:lnTo>
                    <a:cubicBezTo>
                      <a:pt x="3727" y="2132"/>
                      <a:pt x="4763" y="1584"/>
                      <a:pt x="5894" y="1358"/>
                    </a:cubicBezTo>
                    <a:lnTo>
                      <a:pt x="5656" y="155"/>
                    </a:lnTo>
                    <a:close/>
                    <a:moveTo>
                      <a:pt x="11990" y="2060"/>
                    </a:moveTo>
                    <a:lnTo>
                      <a:pt x="11133" y="2941"/>
                    </a:lnTo>
                    <a:cubicBezTo>
                      <a:pt x="11955" y="3751"/>
                      <a:pt x="12514" y="4763"/>
                      <a:pt x="12740" y="5894"/>
                    </a:cubicBezTo>
                    <a:lnTo>
                      <a:pt x="13931" y="5644"/>
                    </a:lnTo>
                    <a:cubicBezTo>
                      <a:pt x="13657" y="4287"/>
                      <a:pt x="12990" y="3036"/>
                      <a:pt x="11990" y="2060"/>
                    </a:cubicBezTo>
                    <a:close/>
                    <a:moveTo>
                      <a:pt x="1167" y="3144"/>
                    </a:moveTo>
                    <a:cubicBezTo>
                      <a:pt x="394" y="4310"/>
                      <a:pt x="1" y="5656"/>
                      <a:pt x="1" y="7061"/>
                    </a:cubicBezTo>
                    <a:lnTo>
                      <a:pt x="1227" y="7049"/>
                    </a:lnTo>
                    <a:cubicBezTo>
                      <a:pt x="1227" y="5894"/>
                      <a:pt x="1560" y="4787"/>
                      <a:pt x="2203" y="3834"/>
                    </a:cubicBezTo>
                    <a:lnTo>
                      <a:pt x="1167" y="3144"/>
                    </a:lnTo>
                    <a:close/>
                    <a:moveTo>
                      <a:pt x="14074" y="7013"/>
                    </a:moveTo>
                    <a:lnTo>
                      <a:pt x="12836" y="7049"/>
                    </a:lnTo>
                    <a:cubicBezTo>
                      <a:pt x="12836" y="8204"/>
                      <a:pt x="12502" y="9323"/>
                      <a:pt x="11859" y="10275"/>
                    </a:cubicBezTo>
                    <a:lnTo>
                      <a:pt x="12883" y="10954"/>
                    </a:lnTo>
                    <a:cubicBezTo>
                      <a:pt x="13657" y="9799"/>
                      <a:pt x="14074" y="8442"/>
                      <a:pt x="14074" y="7049"/>
                    </a:cubicBezTo>
                    <a:lnTo>
                      <a:pt x="14074" y="7013"/>
                    </a:lnTo>
                    <a:close/>
                    <a:moveTo>
                      <a:pt x="1334" y="8192"/>
                    </a:moveTo>
                    <a:lnTo>
                      <a:pt x="132" y="8430"/>
                    </a:lnTo>
                    <a:cubicBezTo>
                      <a:pt x="417" y="9799"/>
                      <a:pt x="1072" y="11049"/>
                      <a:pt x="2060" y="12026"/>
                    </a:cubicBezTo>
                    <a:lnTo>
                      <a:pt x="2930" y="11157"/>
                    </a:lnTo>
                    <a:cubicBezTo>
                      <a:pt x="2108" y="10347"/>
                      <a:pt x="1560" y="9323"/>
                      <a:pt x="1334" y="8192"/>
                    </a:cubicBezTo>
                    <a:close/>
                    <a:moveTo>
                      <a:pt x="11145" y="11145"/>
                    </a:moveTo>
                    <a:cubicBezTo>
                      <a:pt x="10335" y="11966"/>
                      <a:pt x="9311" y="12514"/>
                      <a:pt x="8180" y="12740"/>
                    </a:cubicBezTo>
                    <a:lnTo>
                      <a:pt x="8418" y="13955"/>
                    </a:lnTo>
                    <a:cubicBezTo>
                      <a:pt x="9776" y="13681"/>
                      <a:pt x="11026" y="13014"/>
                      <a:pt x="12002" y="12014"/>
                    </a:cubicBezTo>
                    <a:lnTo>
                      <a:pt x="11145" y="11145"/>
                    </a:lnTo>
                    <a:close/>
                    <a:moveTo>
                      <a:pt x="3823" y="11883"/>
                    </a:moveTo>
                    <a:lnTo>
                      <a:pt x="3132" y="12907"/>
                    </a:lnTo>
                    <a:cubicBezTo>
                      <a:pt x="4299" y="13681"/>
                      <a:pt x="5656" y="14085"/>
                      <a:pt x="7049" y="14085"/>
                    </a:cubicBezTo>
                    <a:lnTo>
                      <a:pt x="7037" y="12847"/>
                    </a:lnTo>
                    <a:cubicBezTo>
                      <a:pt x="5894" y="12847"/>
                      <a:pt x="4775" y="12526"/>
                      <a:pt x="3823" y="11883"/>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 name="Google Shape;1019;p49"/>
              <p:cNvSpPr/>
              <p:nvPr/>
            </p:nvSpPr>
            <p:spPr>
              <a:xfrm>
                <a:off x="2805400" y="1659250"/>
                <a:ext cx="115525" cy="115525"/>
              </a:xfrm>
              <a:custGeom>
                <a:avLst/>
                <a:gdLst/>
                <a:ahLst/>
                <a:cxnLst/>
                <a:rect l="l" t="t" r="r" b="b"/>
                <a:pathLst>
                  <a:path w="4621" h="4621" extrusionOk="0">
                    <a:moveTo>
                      <a:pt x="4620" y="2311"/>
                    </a:moveTo>
                    <a:cubicBezTo>
                      <a:pt x="4620" y="3585"/>
                      <a:pt x="3584" y="4621"/>
                      <a:pt x="2310" y="4621"/>
                    </a:cubicBezTo>
                    <a:cubicBezTo>
                      <a:pt x="1024" y="4621"/>
                      <a:pt x="0" y="3585"/>
                      <a:pt x="0" y="2311"/>
                    </a:cubicBezTo>
                    <a:cubicBezTo>
                      <a:pt x="0" y="1025"/>
                      <a:pt x="1024" y="1"/>
                      <a:pt x="2310" y="1"/>
                    </a:cubicBezTo>
                    <a:cubicBezTo>
                      <a:pt x="3584" y="1"/>
                      <a:pt x="4620" y="1025"/>
                      <a:pt x="4620" y="2311"/>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 name="Google Shape;1020;p49"/>
              <p:cNvSpPr/>
              <p:nvPr/>
            </p:nvSpPr>
            <p:spPr>
              <a:xfrm>
                <a:off x="2836650" y="1690525"/>
                <a:ext cx="53000" cy="53000"/>
              </a:xfrm>
              <a:custGeom>
                <a:avLst/>
                <a:gdLst/>
                <a:ahLst/>
                <a:cxnLst/>
                <a:rect l="l" t="t" r="r" b="b"/>
                <a:pathLst>
                  <a:path w="2120" h="2120" extrusionOk="0">
                    <a:moveTo>
                      <a:pt x="2120" y="1060"/>
                    </a:moveTo>
                    <a:cubicBezTo>
                      <a:pt x="2120" y="1643"/>
                      <a:pt x="1644" y="2119"/>
                      <a:pt x="1060" y="2119"/>
                    </a:cubicBezTo>
                    <a:cubicBezTo>
                      <a:pt x="477" y="2119"/>
                      <a:pt x="1" y="1643"/>
                      <a:pt x="1" y="1060"/>
                    </a:cubicBezTo>
                    <a:cubicBezTo>
                      <a:pt x="1" y="476"/>
                      <a:pt x="477" y="0"/>
                      <a:pt x="1060" y="0"/>
                    </a:cubicBezTo>
                    <a:cubicBezTo>
                      <a:pt x="1644" y="0"/>
                      <a:pt x="2120" y="464"/>
                      <a:pt x="2120" y="1060"/>
                    </a:cubicBezTo>
                    <a:close/>
                  </a:path>
                </a:pathLst>
              </a:custGeom>
              <a:solidFill>
                <a:srgbClr val="6B6A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 name="Google Shape;1021;p49"/>
              <p:cNvSpPr/>
              <p:nvPr/>
            </p:nvSpPr>
            <p:spPr>
              <a:xfrm>
                <a:off x="1473100" y="1193125"/>
                <a:ext cx="2043725" cy="122075"/>
              </a:xfrm>
              <a:custGeom>
                <a:avLst/>
                <a:gdLst/>
                <a:ahLst/>
                <a:cxnLst/>
                <a:rect l="l" t="t" r="r" b="b"/>
                <a:pathLst>
                  <a:path w="81749" h="4883" extrusionOk="0">
                    <a:moveTo>
                      <a:pt x="726" y="4882"/>
                    </a:moveTo>
                    <a:lnTo>
                      <a:pt x="357" y="1334"/>
                    </a:lnTo>
                    <a:cubicBezTo>
                      <a:pt x="298" y="787"/>
                      <a:pt x="726" y="299"/>
                      <a:pt x="1298" y="299"/>
                    </a:cubicBezTo>
                    <a:lnTo>
                      <a:pt x="80772" y="299"/>
                    </a:lnTo>
                    <a:cubicBezTo>
                      <a:pt x="81248" y="299"/>
                      <a:pt x="81617" y="703"/>
                      <a:pt x="81570" y="1180"/>
                    </a:cubicBezTo>
                    <a:lnTo>
                      <a:pt x="81260" y="4597"/>
                    </a:lnTo>
                    <a:lnTo>
                      <a:pt x="81427" y="4597"/>
                    </a:lnTo>
                    <a:lnTo>
                      <a:pt x="81725" y="834"/>
                    </a:lnTo>
                    <a:cubicBezTo>
                      <a:pt x="81748" y="382"/>
                      <a:pt x="81403" y="1"/>
                      <a:pt x="80951" y="1"/>
                    </a:cubicBezTo>
                    <a:lnTo>
                      <a:pt x="1262" y="1"/>
                    </a:lnTo>
                    <a:cubicBezTo>
                      <a:pt x="548" y="1"/>
                      <a:pt x="0" y="608"/>
                      <a:pt x="71" y="1322"/>
                    </a:cubicBezTo>
                    <a:lnTo>
                      <a:pt x="429" y="4882"/>
                    </a:lnTo>
                    <a:lnTo>
                      <a:pt x="726" y="4882"/>
                    </a:lnTo>
                    <a:close/>
                  </a:path>
                </a:pathLst>
              </a:custGeom>
              <a:solidFill>
                <a:srgbClr val="2118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 name="Google Shape;1022;p49"/>
              <p:cNvSpPr/>
              <p:nvPr/>
            </p:nvSpPr>
            <p:spPr>
              <a:xfrm>
                <a:off x="2059775" y="1414000"/>
                <a:ext cx="881375" cy="579850"/>
              </a:xfrm>
              <a:custGeom>
                <a:avLst/>
                <a:gdLst/>
                <a:ahLst/>
                <a:cxnLst/>
                <a:rect l="l" t="t" r="r" b="b"/>
                <a:pathLst>
                  <a:path w="35255" h="23194" extrusionOk="0">
                    <a:moveTo>
                      <a:pt x="0" y="96"/>
                    </a:moveTo>
                    <a:lnTo>
                      <a:pt x="1310" y="23194"/>
                    </a:lnTo>
                    <a:lnTo>
                      <a:pt x="34481" y="23194"/>
                    </a:lnTo>
                    <a:lnTo>
                      <a:pt x="35255" y="0"/>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 name="Google Shape;1023;p49"/>
              <p:cNvSpPr/>
              <p:nvPr/>
            </p:nvSpPr>
            <p:spPr>
              <a:xfrm>
                <a:off x="2135075" y="1444650"/>
                <a:ext cx="743575" cy="525400"/>
              </a:xfrm>
              <a:custGeom>
                <a:avLst/>
                <a:gdLst/>
                <a:ahLst/>
                <a:cxnLst/>
                <a:rect l="l" t="t" r="r" b="b"/>
                <a:pathLst>
                  <a:path w="29743" h="21016" extrusionOk="0">
                    <a:moveTo>
                      <a:pt x="2060" y="21003"/>
                    </a:moveTo>
                    <a:lnTo>
                      <a:pt x="27825" y="20848"/>
                    </a:lnTo>
                    <a:cubicBezTo>
                      <a:pt x="28373" y="20848"/>
                      <a:pt x="28837" y="20444"/>
                      <a:pt x="28849" y="19944"/>
                    </a:cubicBezTo>
                    <a:lnTo>
                      <a:pt x="29719" y="977"/>
                    </a:lnTo>
                    <a:cubicBezTo>
                      <a:pt x="29742" y="441"/>
                      <a:pt x="29266" y="1"/>
                      <a:pt x="28671" y="1"/>
                    </a:cubicBezTo>
                    <a:lnTo>
                      <a:pt x="1072" y="1"/>
                    </a:lnTo>
                    <a:cubicBezTo>
                      <a:pt x="477" y="1"/>
                      <a:pt x="1" y="441"/>
                      <a:pt x="24" y="989"/>
                    </a:cubicBezTo>
                    <a:lnTo>
                      <a:pt x="1024" y="20098"/>
                    </a:lnTo>
                    <a:cubicBezTo>
                      <a:pt x="1048" y="20610"/>
                      <a:pt x="1513" y="21015"/>
                      <a:pt x="2060" y="21003"/>
                    </a:cubicBezTo>
                    <a:close/>
                  </a:path>
                </a:pathLst>
              </a:custGeom>
              <a:solidFill>
                <a:srgbClr val="2118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 name="Google Shape;1024;p49"/>
              <p:cNvSpPr/>
              <p:nvPr/>
            </p:nvSpPr>
            <p:spPr>
              <a:xfrm>
                <a:off x="2145800" y="1451800"/>
                <a:ext cx="723025" cy="510800"/>
              </a:xfrm>
              <a:custGeom>
                <a:avLst/>
                <a:gdLst/>
                <a:ahLst/>
                <a:cxnLst/>
                <a:rect l="l" t="t" r="r" b="b"/>
                <a:pathLst>
                  <a:path w="28921" h="20432" extrusionOk="0">
                    <a:moveTo>
                      <a:pt x="28897" y="965"/>
                    </a:moveTo>
                    <a:lnTo>
                      <a:pt x="28813" y="2882"/>
                    </a:lnTo>
                    <a:lnTo>
                      <a:pt x="28813" y="2882"/>
                    </a:lnTo>
                    <a:lnTo>
                      <a:pt x="28539" y="8763"/>
                    </a:lnTo>
                    <a:lnTo>
                      <a:pt x="28147" y="17562"/>
                    </a:lnTo>
                    <a:lnTo>
                      <a:pt x="28051" y="19408"/>
                    </a:lnTo>
                    <a:cubicBezTo>
                      <a:pt x="28016" y="19896"/>
                      <a:pt x="27587" y="20277"/>
                      <a:pt x="27051" y="20277"/>
                    </a:cubicBezTo>
                    <a:lnTo>
                      <a:pt x="2000" y="20431"/>
                    </a:lnTo>
                    <a:cubicBezTo>
                      <a:pt x="1465" y="20431"/>
                      <a:pt x="1012" y="20039"/>
                      <a:pt x="988" y="19550"/>
                    </a:cubicBezTo>
                    <a:lnTo>
                      <a:pt x="917" y="18038"/>
                    </a:lnTo>
                    <a:lnTo>
                      <a:pt x="476" y="9347"/>
                    </a:lnTo>
                    <a:lnTo>
                      <a:pt x="131" y="2882"/>
                    </a:lnTo>
                    <a:lnTo>
                      <a:pt x="24" y="965"/>
                    </a:lnTo>
                    <a:cubicBezTo>
                      <a:pt x="0" y="441"/>
                      <a:pt x="453" y="0"/>
                      <a:pt x="1036" y="0"/>
                    </a:cubicBezTo>
                    <a:lnTo>
                      <a:pt x="27897" y="0"/>
                    </a:lnTo>
                    <a:cubicBezTo>
                      <a:pt x="28456" y="0"/>
                      <a:pt x="28920" y="441"/>
                      <a:pt x="28897" y="965"/>
                    </a:cubicBezTo>
                    <a:close/>
                  </a:path>
                </a:pathLst>
              </a:custGeom>
              <a:solidFill>
                <a:srgbClr val="EAE5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 name="Google Shape;1025;p49"/>
              <p:cNvSpPr/>
              <p:nvPr/>
            </p:nvSpPr>
            <p:spPr>
              <a:xfrm>
                <a:off x="2452075" y="1414600"/>
                <a:ext cx="411100" cy="20550"/>
              </a:xfrm>
              <a:custGeom>
                <a:avLst/>
                <a:gdLst/>
                <a:ahLst/>
                <a:cxnLst/>
                <a:rect l="l" t="t" r="r" b="b"/>
                <a:pathLst>
                  <a:path w="16444" h="822" extrusionOk="0">
                    <a:moveTo>
                      <a:pt x="203" y="83"/>
                    </a:moveTo>
                    <a:lnTo>
                      <a:pt x="1" y="822"/>
                    </a:lnTo>
                    <a:lnTo>
                      <a:pt x="16098" y="691"/>
                    </a:lnTo>
                    <a:lnTo>
                      <a:pt x="16443" y="0"/>
                    </a:lnTo>
                    <a:close/>
                  </a:path>
                </a:pathLst>
              </a:custGeom>
              <a:solidFill>
                <a:srgbClr val="CECED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 name="Google Shape;1026;p49"/>
              <p:cNvSpPr/>
              <p:nvPr/>
            </p:nvSpPr>
            <p:spPr>
              <a:xfrm>
                <a:off x="2144900" y="1451800"/>
                <a:ext cx="723925" cy="236050"/>
              </a:xfrm>
              <a:custGeom>
                <a:avLst/>
                <a:gdLst/>
                <a:ahLst/>
                <a:cxnLst/>
                <a:rect l="l" t="t" r="r" b="b"/>
                <a:pathLst>
                  <a:path w="28957" h="9442" extrusionOk="0">
                    <a:moveTo>
                      <a:pt x="28933" y="965"/>
                    </a:moveTo>
                    <a:lnTo>
                      <a:pt x="28849" y="2882"/>
                    </a:lnTo>
                    <a:lnTo>
                      <a:pt x="28849" y="2882"/>
                    </a:lnTo>
                    <a:lnTo>
                      <a:pt x="28575" y="8763"/>
                    </a:lnTo>
                    <a:lnTo>
                      <a:pt x="512" y="9442"/>
                    </a:lnTo>
                    <a:lnTo>
                      <a:pt x="477" y="9347"/>
                    </a:lnTo>
                    <a:lnTo>
                      <a:pt x="143" y="2882"/>
                    </a:lnTo>
                    <a:lnTo>
                      <a:pt x="36" y="965"/>
                    </a:lnTo>
                    <a:cubicBezTo>
                      <a:pt x="0" y="441"/>
                      <a:pt x="465" y="0"/>
                      <a:pt x="1048" y="0"/>
                    </a:cubicBezTo>
                    <a:lnTo>
                      <a:pt x="27909" y="0"/>
                    </a:lnTo>
                    <a:cubicBezTo>
                      <a:pt x="28492" y="0"/>
                      <a:pt x="28956" y="441"/>
                      <a:pt x="28933" y="965"/>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 name="Google Shape;1027;p49"/>
              <p:cNvSpPr/>
              <p:nvPr/>
            </p:nvSpPr>
            <p:spPr>
              <a:xfrm>
                <a:off x="1490950" y="1970025"/>
                <a:ext cx="2018125" cy="23825"/>
              </a:xfrm>
              <a:custGeom>
                <a:avLst/>
                <a:gdLst/>
                <a:ahLst/>
                <a:cxnLst/>
                <a:rect l="l" t="t" r="r" b="b"/>
                <a:pathLst>
                  <a:path w="80725" h="953" extrusionOk="0">
                    <a:moveTo>
                      <a:pt x="0" y="953"/>
                    </a:moveTo>
                    <a:lnTo>
                      <a:pt x="80713" y="953"/>
                    </a:lnTo>
                    <a:lnTo>
                      <a:pt x="80725" y="405"/>
                    </a:lnTo>
                    <a:lnTo>
                      <a:pt x="0" y="0"/>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 name="Google Shape;1028;p49"/>
              <p:cNvSpPr/>
              <p:nvPr/>
            </p:nvSpPr>
            <p:spPr>
              <a:xfrm>
                <a:off x="1471600" y="1412500"/>
                <a:ext cx="2052950" cy="31275"/>
              </a:xfrm>
              <a:custGeom>
                <a:avLst/>
                <a:gdLst/>
                <a:ahLst/>
                <a:cxnLst/>
                <a:rect l="l" t="t" r="r" b="b"/>
                <a:pathLst>
                  <a:path w="82118" h="1251" extrusionOk="0">
                    <a:moveTo>
                      <a:pt x="1" y="1251"/>
                    </a:moveTo>
                    <a:lnTo>
                      <a:pt x="81963" y="1037"/>
                    </a:lnTo>
                    <a:lnTo>
                      <a:pt x="82118" y="1"/>
                    </a:lnTo>
                    <a:lnTo>
                      <a:pt x="108" y="215"/>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1029" name="Google Shape;1029;p49"/>
            <p:cNvCxnSpPr>
              <a:stCxn id="1030" idx="3"/>
              <a:endCxn id="1031" idx="1"/>
            </p:cNvCxnSpPr>
            <p:nvPr/>
          </p:nvCxnSpPr>
          <p:spPr>
            <a:xfrm>
              <a:off x="3025350" y="2257350"/>
              <a:ext cx="982800" cy="399600"/>
            </a:xfrm>
            <a:prstGeom prst="bentConnector3">
              <a:avLst>
                <a:gd name="adj1" fmla="val 50000"/>
              </a:avLst>
            </a:prstGeom>
            <a:noFill/>
            <a:ln w="19050" cap="flat" cmpd="sng">
              <a:solidFill>
                <a:schemeClr val="lt1"/>
              </a:solidFill>
              <a:prstDash val="solid"/>
              <a:round/>
              <a:headEnd type="oval" w="med" len="med"/>
              <a:tailEnd type="oval" w="med" len="med"/>
            </a:ln>
          </p:spPr>
        </p:cxnSp>
        <p:cxnSp>
          <p:nvCxnSpPr>
            <p:cNvPr id="1032" name="Google Shape;1032;p49"/>
            <p:cNvCxnSpPr>
              <a:stCxn id="1033" idx="1"/>
              <a:endCxn id="1034" idx="3"/>
            </p:cNvCxnSpPr>
            <p:nvPr/>
          </p:nvCxnSpPr>
          <p:spPr>
            <a:xfrm flipH="1">
              <a:off x="4853350" y="2257350"/>
              <a:ext cx="1265100" cy="720600"/>
            </a:xfrm>
            <a:prstGeom prst="bentConnector3">
              <a:avLst>
                <a:gd name="adj1" fmla="val 50000"/>
              </a:avLst>
            </a:prstGeom>
            <a:noFill/>
            <a:ln w="19050" cap="flat" cmpd="sng">
              <a:solidFill>
                <a:schemeClr val="lt1"/>
              </a:solidFill>
              <a:prstDash val="solid"/>
              <a:round/>
              <a:headEnd type="oval" w="med" len="med"/>
              <a:tailEnd type="oval" w="med" len="med"/>
            </a:ln>
          </p:spPr>
        </p:cxnSp>
      </p:grpSp>
      <p:sp>
        <p:nvSpPr>
          <p:cNvPr id="1035" name="Google Shape;1035;p49"/>
          <p:cNvSpPr txBox="1">
            <a:spLocks noGrp="1"/>
          </p:cNvSpPr>
          <p:nvPr>
            <p:ph type="title"/>
          </p:nvPr>
        </p:nvSpPr>
        <p:spPr>
          <a:xfrm>
            <a:off x="713400" y="381209"/>
            <a:ext cx="77172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PRODUCTION</a:t>
            </a:r>
            <a:endParaRPr dirty="0"/>
          </a:p>
        </p:txBody>
      </p:sp>
      <p:sp>
        <p:nvSpPr>
          <p:cNvPr id="1036" name="Google Shape;1036;p49"/>
          <p:cNvSpPr txBox="1"/>
          <p:nvPr/>
        </p:nvSpPr>
        <p:spPr>
          <a:xfrm>
            <a:off x="713100" y="1604100"/>
            <a:ext cx="2032800" cy="4023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r>
              <a:rPr lang="en" sz="1800" b="1" dirty="0">
                <a:solidFill>
                  <a:schemeClr val="lt1"/>
                </a:solidFill>
                <a:latin typeface="Archivo Black"/>
                <a:ea typeface="Archivo Black"/>
                <a:cs typeface="Archivo Black"/>
                <a:sym typeface="Archivo Black"/>
              </a:rPr>
              <a:t>CUTAWAYS</a:t>
            </a:r>
            <a:endParaRPr sz="1800" b="1" dirty="0">
              <a:solidFill>
                <a:schemeClr val="lt1"/>
              </a:solidFill>
              <a:latin typeface="Archivo Black"/>
              <a:ea typeface="Archivo Black"/>
              <a:cs typeface="Archivo Black"/>
              <a:sym typeface="Archivo Black"/>
            </a:endParaRPr>
          </a:p>
        </p:txBody>
      </p:sp>
      <p:sp>
        <p:nvSpPr>
          <p:cNvPr id="1037" name="Google Shape;1037;p49"/>
          <p:cNvSpPr txBox="1"/>
          <p:nvPr/>
        </p:nvSpPr>
        <p:spPr>
          <a:xfrm>
            <a:off x="0" y="1992724"/>
            <a:ext cx="2745875" cy="1168675"/>
          </a:xfrm>
          <a:prstGeom prst="rect">
            <a:avLst/>
          </a:prstGeom>
          <a:noFill/>
          <a:ln>
            <a:noFill/>
          </a:ln>
        </p:spPr>
        <p:txBody>
          <a:bodyPr spcFirstLastPara="1" wrap="square" lIns="0" tIns="91425" rIns="91425" bIns="91425" anchor="t" anchorCtr="0">
            <a:noAutofit/>
          </a:bodyPr>
          <a:lstStyle/>
          <a:p>
            <a:pPr marL="0" lvl="0" indent="0" algn="r" rtl="0">
              <a:spcBef>
                <a:spcPts val="0"/>
              </a:spcBef>
              <a:spcAft>
                <a:spcPts val="0"/>
              </a:spcAft>
              <a:buNone/>
            </a:pPr>
            <a:r>
              <a:rPr lang="en" sz="1600" dirty="0">
                <a:solidFill>
                  <a:schemeClr val="lt1"/>
                </a:solidFill>
                <a:latin typeface="Roboto"/>
                <a:ea typeface="Roboto"/>
                <a:cs typeface="Roboto"/>
                <a:sym typeface="Roboto"/>
              </a:rPr>
              <a:t>15” to 30” of generic </a:t>
            </a:r>
          </a:p>
          <a:p>
            <a:pPr marL="0" lvl="0" indent="0" algn="r" rtl="0">
              <a:spcBef>
                <a:spcPts val="0"/>
              </a:spcBef>
              <a:spcAft>
                <a:spcPts val="0"/>
              </a:spcAft>
              <a:buNone/>
            </a:pPr>
            <a:r>
              <a:rPr lang="en" sz="1600" dirty="0">
                <a:solidFill>
                  <a:schemeClr val="lt1"/>
                </a:solidFill>
                <a:latin typeface="Roboto"/>
                <a:ea typeface="Roboto"/>
                <a:cs typeface="Roboto"/>
                <a:sym typeface="Roboto"/>
              </a:rPr>
              <a:t>static or moving shots </a:t>
            </a:r>
          </a:p>
          <a:p>
            <a:pPr marL="0" lvl="0" indent="0" algn="r" rtl="0">
              <a:spcBef>
                <a:spcPts val="0"/>
              </a:spcBef>
              <a:spcAft>
                <a:spcPts val="0"/>
              </a:spcAft>
              <a:buNone/>
            </a:pPr>
            <a:r>
              <a:rPr lang="en" sz="1600" dirty="0">
                <a:solidFill>
                  <a:schemeClr val="lt1"/>
                </a:solidFill>
                <a:latin typeface="Roboto"/>
                <a:ea typeface="Roboto"/>
                <a:cs typeface="Roboto"/>
                <a:sym typeface="Roboto"/>
              </a:rPr>
              <a:t>of objects, hands etc. </a:t>
            </a:r>
          </a:p>
          <a:p>
            <a:pPr marL="0" lvl="0" indent="0" algn="r" rtl="0">
              <a:spcBef>
                <a:spcPts val="0"/>
              </a:spcBef>
              <a:spcAft>
                <a:spcPts val="0"/>
              </a:spcAft>
              <a:buNone/>
            </a:pPr>
            <a:r>
              <a:rPr lang="en" sz="1600" dirty="0">
                <a:solidFill>
                  <a:schemeClr val="lt1"/>
                </a:solidFill>
                <a:latin typeface="Roboto"/>
                <a:ea typeface="Roboto"/>
                <a:cs typeface="Roboto"/>
                <a:sym typeface="Roboto"/>
              </a:rPr>
              <a:t>Details, details, details. </a:t>
            </a:r>
          </a:p>
        </p:txBody>
      </p:sp>
      <p:sp>
        <p:nvSpPr>
          <p:cNvPr id="1038" name="Google Shape;1038;p49"/>
          <p:cNvSpPr txBox="1"/>
          <p:nvPr/>
        </p:nvSpPr>
        <p:spPr>
          <a:xfrm>
            <a:off x="6400625" y="1604092"/>
            <a:ext cx="2138282" cy="402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800" b="1" dirty="0">
                <a:solidFill>
                  <a:schemeClr val="lt1"/>
                </a:solidFill>
                <a:latin typeface="Archivo Black"/>
                <a:ea typeface="Archivo Black"/>
                <a:cs typeface="Archivo Black"/>
                <a:sym typeface="Archivo Black"/>
              </a:rPr>
              <a:t>ESTABLISHING</a:t>
            </a:r>
          </a:p>
          <a:p>
            <a:pPr marL="0" lvl="0" indent="0" algn="l" rtl="0">
              <a:spcBef>
                <a:spcPts val="0"/>
              </a:spcBef>
              <a:spcAft>
                <a:spcPts val="0"/>
              </a:spcAft>
              <a:buNone/>
            </a:pPr>
            <a:r>
              <a:rPr lang="en" sz="1800" b="1" dirty="0">
                <a:solidFill>
                  <a:schemeClr val="lt1"/>
                </a:solidFill>
                <a:latin typeface="Archivo Black"/>
                <a:ea typeface="Archivo Black"/>
                <a:cs typeface="Archivo Black"/>
                <a:sym typeface="Archivo Black"/>
              </a:rPr>
              <a:t>SHOTS</a:t>
            </a:r>
            <a:endParaRPr sz="1800" b="1" dirty="0">
              <a:solidFill>
                <a:schemeClr val="lt1"/>
              </a:solidFill>
              <a:latin typeface="Archivo Black"/>
              <a:ea typeface="Archivo Black"/>
              <a:cs typeface="Archivo Black"/>
              <a:sym typeface="Archivo Black"/>
            </a:endParaRPr>
          </a:p>
        </p:txBody>
      </p:sp>
      <p:sp>
        <p:nvSpPr>
          <p:cNvPr id="1039" name="Google Shape;1039;p49"/>
          <p:cNvSpPr txBox="1"/>
          <p:nvPr/>
        </p:nvSpPr>
        <p:spPr>
          <a:xfrm>
            <a:off x="6400625" y="2159598"/>
            <a:ext cx="2440361" cy="970800"/>
          </a:xfrm>
          <a:prstGeom prst="rect">
            <a:avLst/>
          </a:prstGeom>
          <a:noFill/>
          <a:ln>
            <a:noFill/>
          </a:ln>
        </p:spPr>
        <p:txBody>
          <a:bodyPr spcFirstLastPara="1" wrap="square" lIns="91425" tIns="91425" rIns="0" bIns="91425" anchor="t" anchorCtr="0">
            <a:noAutofit/>
          </a:bodyPr>
          <a:lstStyle/>
          <a:p>
            <a:pPr marL="0" lvl="0" indent="0" algn="l" rtl="0">
              <a:spcBef>
                <a:spcPts val="0"/>
              </a:spcBef>
              <a:spcAft>
                <a:spcPts val="0"/>
              </a:spcAft>
              <a:buNone/>
            </a:pPr>
            <a:r>
              <a:rPr lang="en" sz="1600" dirty="0">
                <a:solidFill>
                  <a:schemeClr val="lt1"/>
                </a:solidFill>
                <a:latin typeface="Roboto"/>
                <a:ea typeface="Roboto"/>
                <a:cs typeface="Roboto"/>
                <a:sym typeface="Roboto"/>
              </a:rPr>
              <a:t>Shots that help navigate the visual narration. </a:t>
            </a:r>
          </a:p>
          <a:p>
            <a:pPr marL="0" lvl="0" indent="0" algn="l" rtl="0">
              <a:spcBef>
                <a:spcPts val="0"/>
              </a:spcBef>
              <a:spcAft>
                <a:spcPts val="0"/>
              </a:spcAft>
              <a:buNone/>
            </a:pPr>
            <a:r>
              <a:rPr lang="en-US" sz="1600" dirty="0">
                <a:solidFill>
                  <a:schemeClr val="lt1"/>
                </a:solidFill>
                <a:latin typeface="Roboto"/>
                <a:ea typeface="Roboto"/>
                <a:cs typeface="Roboto"/>
                <a:sym typeface="Roboto"/>
              </a:rPr>
              <a:t>Especially!! Locations</a:t>
            </a:r>
            <a:endParaRPr sz="1600" dirty="0">
              <a:solidFill>
                <a:schemeClr val="lt1"/>
              </a:solidFill>
              <a:latin typeface="Roboto"/>
              <a:ea typeface="Roboto"/>
              <a:cs typeface="Roboto"/>
              <a:sym typeface="Roboto"/>
            </a:endParaRPr>
          </a:p>
        </p:txBody>
      </p:sp>
      <p:sp>
        <p:nvSpPr>
          <p:cNvPr id="1040" name="Google Shape;1040;p49"/>
          <p:cNvSpPr txBox="1"/>
          <p:nvPr/>
        </p:nvSpPr>
        <p:spPr>
          <a:xfrm>
            <a:off x="-598393" y="3244692"/>
            <a:ext cx="3344294" cy="4023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r>
              <a:rPr lang="en" sz="1800" b="1" dirty="0">
                <a:solidFill>
                  <a:schemeClr val="lt1"/>
                </a:solidFill>
                <a:latin typeface="Archivo Black"/>
                <a:ea typeface="Archivo Black"/>
                <a:cs typeface="Archivo Black"/>
                <a:sym typeface="Archivo Black"/>
              </a:rPr>
              <a:t>DOUBLE TAKES</a:t>
            </a:r>
            <a:endParaRPr sz="1800" b="1" dirty="0">
              <a:solidFill>
                <a:schemeClr val="lt1"/>
              </a:solidFill>
              <a:latin typeface="Archivo Black"/>
              <a:ea typeface="Archivo Black"/>
              <a:cs typeface="Archivo Black"/>
              <a:sym typeface="Archivo Black"/>
            </a:endParaRPr>
          </a:p>
        </p:txBody>
      </p:sp>
      <p:sp>
        <p:nvSpPr>
          <p:cNvPr id="1041" name="Google Shape;1041;p49"/>
          <p:cNvSpPr txBox="1"/>
          <p:nvPr/>
        </p:nvSpPr>
        <p:spPr>
          <a:xfrm>
            <a:off x="579663" y="3599625"/>
            <a:ext cx="2162700" cy="9708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r>
              <a:rPr lang="en" sz="1600" dirty="0">
                <a:solidFill>
                  <a:schemeClr val="lt1"/>
                </a:solidFill>
                <a:latin typeface="Roboto"/>
                <a:ea typeface="Roboto"/>
                <a:cs typeface="Roboto"/>
                <a:sym typeface="Roboto"/>
              </a:rPr>
              <a:t>After shooting it…</a:t>
            </a:r>
          </a:p>
          <a:p>
            <a:pPr marL="0" lvl="0" indent="0" algn="r" rtl="0">
              <a:spcBef>
                <a:spcPts val="0"/>
              </a:spcBef>
              <a:spcAft>
                <a:spcPts val="0"/>
              </a:spcAft>
              <a:buNone/>
            </a:pPr>
            <a:r>
              <a:rPr lang="en-US" sz="1600" dirty="0">
                <a:solidFill>
                  <a:schemeClr val="lt1"/>
                </a:solidFill>
                <a:latin typeface="Roboto"/>
                <a:ea typeface="Roboto"/>
                <a:cs typeface="Roboto"/>
                <a:sym typeface="Roboto"/>
              </a:rPr>
              <a:t>S</a:t>
            </a:r>
            <a:r>
              <a:rPr lang="en" sz="1600" dirty="0">
                <a:solidFill>
                  <a:schemeClr val="lt1"/>
                </a:solidFill>
                <a:latin typeface="Roboto"/>
                <a:ea typeface="Roboto"/>
                <a:cs typeface="Roboto"/>
                <a:sym typeface="Roboto"/>
              </a:rPr>
              <a:t>hoot it again…</a:t>
            </a:r>
          </a:p>
          <a:p>
            <a:pPr marL="0" lvl="0" indent="0" algn="r" rtl="0">
              <a:spcBef>
                <a:spcPts val="0"/>
              </a:spcBef>
              <a:spcAft>
                <a:spcPts val="0"/>
              </a:spcAft>
              <a:buNone/>
            </a:pPr>
            <a:r>
              <a:rPr lang="en-US" sz="1600" dirty="0">
                <a:solidFill>
                  <a:schemeClr val="lt1"/>
                </a:solidFill>
                <a:latin typeface="Roboto"/>
                <a:ea typeface="Roboto"/>
                <a:cs typeface="Roboto"/>
                <a:sym typeface="Roboto"/>
              </a:rPr>
              <a:t>A</a:t>
            </a:r>
            <a:r>
              <a:rPr lang="en" sz="1600" dirty="0">
                <a:solidFill>
                  <a:schemeClr val="lt1"/>
                </a:solidFill>
                <a:latin typeface="Roboto"/>
                <a:ea typeface="Roboto"/>
                <a:cs typeface="Roboto"/>
                <a:sym typeface="Roboto"/>
              </a:rPr>
              <a:t>nd… one more time.</a:t>
            </a:r>
            <a:endParaRPr sz="1600" dirty="0">
              <a:solidFill>
                <a:schemeClr val="lt1"/>
              </a:solidFill>
              <a:latin typeface="Roboto"/>
              <a:ea typeface="Roboto"/>
              <a:cs typeface="Roboto"/>
              <a:sym typeface="Roboto"/>
            </a:endParaRPr>
          </a:p>
        </p:txBody>
      </p:sp>
      <p:sp>
        <p:nvSpPr>
          <p:cNvPr id="1042" name="Google Shape;1042;p49"/>
          <p:cNvSpPr txBox="1"/>
          <p:nvPr/>
        </p:nvSpPr>
        <p:spPr>
          <a:xfrm>
            <a:off x="6400625" y="3244692"/>
            <a:ext cx="2030100" cy="402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sz="1800" b="1" dirty="0">
                <a:solidFill>
                  <a:schemeClr val="lt1"/>
                </a:solidFill>
                <a:latin typeface="Archivo Black"/>
                <a:ea typeface="Archivo Black"/>
                <a:cs typeface="Archivo Black"/>
                <a:sym typeface="Archivo Black"/>
              </a:rPr>
              <a:t>A</a:t>
            </a:r>
            <a:r>
              <a:rPr lang="en" sz="1800" b="1" dirty="0">
                <a:solidFill>
                  <a:schemeClr val="lt1"/>
                </a:solidFill>
                <a:latin typeface="Archivo Black"/>
                <a:ea typeface="Archivo Black"/>
                <a:cs typeface="Archivo Black"/>
                <a:sym typeface="Archivo Black"/>
              </a:rPr>
              <a:t>LIGN</a:t>
            </a:r>
            <a:endParaRPr sz="1800" b="1" dirty="0">
              <a:solidFill>
                <a:schemeClr val="lt1"/>
              </a:solidFill>
              <a:latin typeface="Archivo Black"/>
              <a:ea typeface="Archivo Black"/>
              <a:cs typeface="Archivo Black"/>
              <a:sym typeface="Archivo Black"/>
            </a:endParaRPr>
          </a:p>
        </p:txBody>
      </p:sp>
      <p:sp>
        <p:nvSpPr>
          <p:cNvPr id="1043" name="Google Shape;1043;p49"/>
          <p:cNvSpPr txBox="1"/>
          <p:nvPr/>
        </p:nvSpPr>
        <p:spPr>
          <a:xfrm>
            <a:off x="6400624" y="3633299"/>
            <a:ext cx="2440361" cy="970800"/>
          </a:xfrm>
          <a:prstGeom prst="rect">
            <a:avLst/>
          </a:prstGeom>
          <a:noFill/>
          <a:ln>
            <a:noFill/>
          </a:ln>
        </p:spPr>
        <p:txBody>
          <a:bodyPr spcFirstLastPara="1" wrap="square" lIns="91425" tIns="91425" rIns="0" bIns="91425" anchor="t" anchorCtr="0">
            <a:noAutofit/>
          </a:bodyPr>
          <a:lstStyle/>
          <a:p>
            <a:pPr marL="0" lvl="0" indent="0" algn="l" rtl="0">
              <a:spcBef>
                <a:spcPts val="0"/>
              </a:spcBef>
              <a:spcAft>
                <a:spcPts val="0"/>
              </a:spcAft>
              <a:buNone/>
            </a:pPr>
            <a:r>
              <a:rPr lang="en" sz="1600" dirty="0">
                <a:solidFill>
                  <a:schemeClr val="lt1"/>
                </a:solidFill>
                <a:latin typeface="Roboto"/>
                <a:ea typeface="Roboto"/>
                <a:cs typeface="Roboto"/>
                <a:sym typeface="Roboto"/>
              </a:rPr>
              <a:t>Don’t look at the action…</a:t>
            </a:r>
          </a:p>
          <a:p>
            <a:pPr marL="0" lvl="0" indent="0" algn="l" rtl="0">
              <a:spcBef>
                <a:spcPts val="0"/>
              </a:spcBef>
              <a:spcAft>
                <a:spcPts val="0"/>
              </a:spcAft>
              <a:buNone/>
            </a:pPr>
            <a:r>
              <a:rPr lang="en-US" sz="1600" dirty="0">
                <a:solidFill>
                  <a:schemeClr val="lt1"/>
                </a:solidFill>
                <a:latin typeface="Roboto"/>
                <a:ea typeface="Roboto"/>
                <a:cs typeface="Roboto"/>
                <a:sym typeface="Roboto"/>
              </a:rPr>
              <a:t>L</a:t>
            </a:r>
            <a:r>
              <a:rPr lang="en" sz="1600" dirty="0">
                <a:solidFill>
                  <a:schemeClr val="lt1"/>
                </a:solidFill>
                <a:latin typeface="Roboto"/>
                <a:ea typeface="Roboto"/>
                <a:cs typeface="Roboto"/>
                <a:sym typeface="Roboto"/>
              </a:rPr>
              <a:t>ook at your FRAME!</a:t>
            </a:r>
            <a:endParaRPr sz="1600" dirty="0">
              <a:solidFill>
                <a:schemeClr val="lt1"/>
              </a:solidFill>
              <a:latin typeface="Roboto"/>
              <a:ea typeface="Roboto"/>
              <a:cs typeface="Roboto"/>
              <a:sym typeface="Roboto"/>
            </a:endParaRPr>
          </a:p>
        </p:txBody>
      </p:sp>
      <p:grpSp>
        <p:nvGrpSpPr>
          <p:cNvPr id="1044" name="Google Shape;1044;p49"/>
          <p:cNvGrpSpPr/>
          <p:nvPr/>
        </p:nvGrpSpPr>
        <p:grpSpPr>
          <a:xfrm flipH="1">
            <a:off x="7957231" y="-410125"/>
            <a:ext cx="1659324" cy="883756"/>
            <a:chOff x="4600575" y="533400"/>
            <a:chExt cx="1935975" cy="1031100"/>
          </a:xfrm>
        </p:grpSpPr>
        <p:sp>
          <p:nvSpPr>
            <p:cNvPr id="1045" name="Google Shape;1045;p49"/>
            <p:cNvSpPr/>
            <p:nvPr/>
          </p:nvSpPr>
          <p:spPr>
            <a:xfrm>
              <a:off x="4600575" y="533400"/>
              <a:ext cx="1031100" cy="1031100"/>
            </a:xfrm>
            <a:prstGeom prst="ellipse">
              <a:avLst/>
            </a:prstGeom>
            <a:noFill/>
            <a:ln w="28575"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 name="Google Shape;1046;p49"/>
            <p:cNvSpPr/>
            <p:nvPr/>
          </p:nvSpPr>
          <p:spPr>
            <a:xfrm>
              <a:off x="4826794" y="533400"/>
              <a:ext cx="1031100" cy="1031100"/>
            </a:xfrm>
            <a:prstGeom prst="ellipse">
              <a:avLst/>
            </a:prstGeom>
            <a:noFill/>
            <a:ln w="2857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 name="Google Shape;1047;p49"/>
            <p:cNvSpPr/>
            <p:nvPr/>
          </p:nvSpPr>
          <p:spPr>
            <a:xfrm>
              <a:off x="5053013" y="533400"/>
              <a:ext cx="1031100" cy="1031100"/>
            </a:xfrm>
            <a:prstGeom prst="ellipse">
              <a:avLst/>
            </a:prstGeom>
            <a:noFill/>
            <a:ln w="2857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 name="Google Shape;1048;p49"/>
            <p:cNvSpPr/>
            <p:nvPr/>
          </p:nvSpPr>
          <p:spPr>
            <a:xfrm>
              <a:off x="5279231" y="533400"/>
              <a:ext cx="1031100" cy="1031100"/>
            </a:xfrm>
            <a:prstGeom prst="ellipse">
              <a:avLst/>
            </a:prstGeom>
            <a:noFill/>
            <a:ln w="2857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 name="Google Shape;1049;p49"/>
            <p:cNvSpPr/>
            <p:nvPr/>
          </p:nvSpPr>
          <p:spPr>
            <a:xfrm>
              <a:off x="5505450" y="533400"/>
              <a:ext cx="1031100" cy="1031100"/>
            </a:xfrm>
            <a:prstGeom prst="ellipse">
              <a:avLst/>
            </a:prstGeom>
            <a:noFill/>
            <a:ln w="2857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1050" name="Google Shape;1050;p49"/>
          <p:cNvCxnSpPr>
            <a:stCxn id="1051" idx="3"/>
            <a:endCxn id="1052" idx="1"/>
          </p:cNvCxnSpPr>
          <p:nvPr/>
        </p:nvCxnSpPr>
        <p:spPr>
          <a:xfrm rot="10800000" flipH="1">
            <a:off x="3025350" y="3279375"/>
            <a:ext cx="858300" cy="640500"/>
          </a:xfrm>
          <a:prstGeom prst="bentConnector3">
            <a:avLst>
              <a:gd name="adj1" fmla="val 50000"/>
            </a:avLst>
          </a:prstGeom>
          <a:noFill/>
          <a:ln w="19050" cap="flat" cmpd="sng">
            <a:solidFill>
              <a:schemeClr val="lt1"/>
            </a:solidFill>
            <a:prstDash val="solid"/>
            <a:round/>
            <a:headEnd type="oval" w="med" len="med"/>
            <a:tailEnd type="oval" w="med" len="med"/>
          </a:ln>
        </p:spPr>
      </p:cxnSp>
      <p:cxnSp>
        <p:nvCxnSpPr>
          <p:cNvPr id="1053" name="Google Shape;1053;p49"/>
          <p:cNvCxnSpPr>
            <a:stCxn id="1054" idx="3"/>
            <a:endCxn id="1055" idx="1"/>
          </p:cNvCxnSpPr>
          <p:nvPr/>
        </p:nvCxnSpPr>
        <p:spPr>
          <a:xfrm>
            <a:off x="5213650" y="3279375"/>
            <a:ext cx="904800" cy="640500"/>
          </a:xfrm>
          <a:prstGeom prst="bentConnector3">
            <a:avLst>
              <a:gd name="adj1" fmla="val 50000"/>
            </a:avLst>
          </a:prstGeom>
          <a:noFill/>
          <a:ln w="19050" cap="flat" cmpd="sng">
            <a:solidFill>
              <a:schemeClr val="lt1"/>
            </a:solidFill>
            <a:prstDash val="solid"/>
            <a:round/>
            <a:headEnd type="oval" w="med" len="med"/>
            <a:tailEnd type="oval" w="med" len="med"/>
          </a:ln>
        </p:spPr>
      </p:cxn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801"/>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D8212DDE-47D7-4B82-8A47-E4DFDDEDD1D3}"/>
              </a:ext>
            </a:extLst>
          </p:cNvPr>
          <p:cNvGraphicFramePr>
            <a:graphicFrameLocks noGrp="1"/>
          </p:cNvGraphicFramePr>
          <p:nvPr>
            <p:extLst>
              <p:ext uri="{D42A27DB-BD31-4B8C-83A1-F6EECF244321}">
                <p14:modId xmlns:p14="http://schemas.microsoft.com/office/powerpoint/2010/main" val="3308913768"/>
              </p:ext>
            </p:extLst>
          </p:nvPr>
        </p:nvGraphicFramePr>
        <p:xfrm>
          <a:off x="1627094" y="712694"/>
          <a:ext cx="2521324" cy="1660712"/>
        </p:xfrm>
        <a:graphic>
          <a:graphicData uri="http://schemas.openxmlformats.org/drawingml/2006/table">
            <a:tbl>
              <a:tblPr/>
              <a:tblGrid>
                <a:gridCol w="2521324">
                  <a:extLst>
                    <a:ext uri="{9D8B030D-6E8A-4147-A177-3AD203B41FA5}">
                      <a16:colId xmlns:a16="http://schemas.microsoft.com/office/drawing/2014/main" val="1032891991"/>
                    </a:ext>
                  </a:extLst>
                </a:gridCol>
              </a:tblGrid>
              <a:tr h="1660712">
                <a:tc>
                  <a:txBody>
                    <a:bodyPr/>
                    <a:lstStyle/>
                    <a:p>
                      <a:endParaRPr lang="en-US" dirty="0"/>
                    </a:p>
                  </a:txBody>
                  <a:tcPr>
                    <a:lnL w="38100" cmpd="sng">
                      <a:solidFill>
                        <a:schemeClr val="tx1"/>
                      </a:solidFill>
                      <a:prstDash val="sysDash"/>
                    </a:lnL>
                    <a:lnR w="38100" cmpd="sng">
                      <a:solidFill>
                        <a:schemeClr val="tx1"/>
                      </a:solidFill>
                      <a:prstDash val="sysDash"/>
                    </a:lnR>
                    <a:lnT w="38100" cmpd="sng">
                      <a:solidFill>
                        <a:schemeClr val="tx1"/>
                      </a:solidFill>
                      <a:prstDash val="sysDash"/>
                    </a:lnT>
                    <a:lnB w="38100" cmpd="sng">
                      <a:solidFill>
                        <a:schemeClr val="tx1"/>
                      </a:solidFill>
                      <a:prstDash val="sysDash"/>
                    </a:lnB>
                  </a:tcPr>
                </a:tc>
                <a:extLst>
                  <a:ext uri="{0D108BD9-81ED-4DB2-BD59-A6C34878D82A}">
                    <a16:rowId xmlns:a16="http://schemas.microsoft.com/office/drawing/2014/main" val="693784773"/>
                  </a:ext>
                </a:extLst>
              </a:tr>
            </a:tbl>
          </a:graphicData>
        </a:graphic>
      </p:graphicFrame>
      <p:sp>
        <p:nvSpPr>
          <p:cNvPr id="16" name="Google Shape;1036;p49">
            <a:extLst>
              <a:ext uri="{FF2B5EF4-FFF2-40B4-BE49-F238E27FC236}">
                <a16:creationId xmlns:a16="http://schemas.microsoft.com/office/drawing/2014/main" id="{C6FEB902-B5B1-433A-9BF8-54E450574B1A}"/>
              </a:ext>
            </a:extLst>
          </p:cNvPr>
          <p:cNvSpPr txBox="1"/>
          <p:nvPr/>
        </p:nvSpPr>
        <p:spPr>
          <a:xfrm>
            <a:off x="76200" y="48350"/>
            <a:ext cx="2032800" cy="402300"/>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 sz="1800" b="1" dirty="0">
                <a:solidFill>
                  <a:schemeClr val="lt1"/>
                </a:solidFill>
                <a:latin typeface="Archivo Black"/>
                <a:ea typeface="Archivo Black"/>
                <a:cs typeface="Archivo Black"/>
                <a:sym typeface="Archivo Black"/>
              </a:rPr>
              <a:t>CUTAWAYS</a:t>
            </a:r>
            <a:endParaRPr sz="1800" b="1" dirty="0">
              <a:solidFill>
                <a:schemeClr val="lt1"/>
              </a:solidFill>
              <a:latin typeface="Archivo Black"/>
              <a:ea typeface="Archivo Black"/>
              <a:cs typeface="Archivo Black"/>
              <a:sym typeface="Archivo Black"/>
            </a:endParaRPr>
          </a:p>
        </p:txBody>
      </p:sp>
      <p:pic>
        <p:nvPicPr>
          <p:cNvPr id="15" name="Online Media 14" title="What Is A Cutaway Shot?">
            <a:hlinkClick r:id="" action="ppaction://media"/>
            <a:extLst>
              <a:ext uri="{FF2B5EF4-FFF2-40B4-BE49-F238E27FC236}">
                <a16:creationId xmlns:a16="http://schemas.microsoft.com/office/drawing/2014/main" id="{738ED794-136F-49C6-BCA4-E6B83B963964}"/>
              </a:ext>
            </a:extLst>
          </p:cNvPr>
          <p:cNvPicPr>
            <a:picLocks noRot="1" noChangeAspect="1"/>
          </p:cNvPicPr>
          <p:nvPr>
            <a:videoFile r:link="rId1"/>
            <p:custDataLst>
              <p:tags r:id="rId2"/>
            </p:custDataLst>
          </p:nvPr>
        </p:nvPicPr>
        <p:blipFill>
          <a:blip r:embed="rId5"/>
          <a:stretch>
            <a:fillRect/>
          </a:stretch>
        </p:blipFill>
        <p:spPr>
          <a:xfrm>
            <a:off x="1879600" y="712694"/>
            <a:ext cx="5384800" cy="3042412"/>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5"/>
                </p:tgtEl>
              </p:cMediaNode>
            </p:video>
            <p:seq concurrent="1" nextAc="seek">
              <p:cTn id="8" restart="whenNotActive" fill="hold" evtFilter="cancelBubble" nodeType="interactiveSeq">
                <p:stCondLst>
                  <p:cond evt="onClick" delay="0">
                    <p:tgtEl>
                      <p:spTgt spid="1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5"/>
                                        </p:tgtEl>
                                      </p:cBhvr>
                                    </p:cmd>
                                  </p:childTnLst>
                                </p:cTn>
                              </p:par>
                            </p:childTnLst>
                          </p:cTn>
                        </p:par>
                      </p:childTnLst>
                    </p:cTn>
                  </p:par>
                </p:childTnLst>
              </p:cTn>
              <p:nextCondLst>
                <p:cond evt="onClick" delay="0">
                  <p:tgtEl>
                    <p:spTgt spid="15"/>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801"/>
        <p:cNvGrpSpPr/>
        <p:nvPr/>
      </p:nvGrpSpPr>
      <p:grpSpPr>
        <a:xfrm>
          <a:off x="0" y="0"/>
          <a:ext cx="0" cy="0"/>
          <a:chOff x="0" y="0"/>
          <a:chExt cx="0" cy="0"/>
        </a:xfrm>
      </p:grpSpPr>
      <p:pic>
        <p:nvPicPr>
          <p:cNvPr id="3" name="Online Media 2" title="Establishing Shots — Setting a scene like Kubrick, Wes Anderson, and Michael Bay">
            <a:hlinkClick r:id="" action="ppaction://media"/>
            <a:extLst>
              <a:ext uri="{FF2B5EF4-FFF2-40B4-BE49-F238E27FC236}">
                <a16:creationId xmlns:a16="http://schemas.microsoft.com/office/drawing/2014/main" id="{F507E966-85AA-48BF-ADC9-09921750DEA7}"/>
              </a:ext>
            </a:extLst>
          </p:cNvPr>
          <p:cNvPicPr>
            <a:picLocks noRot="1" noChangeAspect="1"/>
          </p:cNvPicPr>
          <p:nvPr>
            <a:videoFile r:link="rId1"/>
            <p:custDataLst>
              <p:tags r:id="rId2"/>
            </p:custDataLst>
          </p:nvPr>
        </p:nvPicPr>
        <p:blipFill>
          <a:blip r:embed="rId5"/>
          <a:stretch>
            <a:fillRect/>
          </a:stretch>
        </p:blipFill>
        <p:spPr>
          <a:xfrm>
            <a:off x="1879600" y="712694"/>
            <a:ext cx="5384800" cy="3042412"/>
          </a:xfrm>
          <a:prstGeom prst="rect">
            <a:avLst/>
          </a:prstGeom>
        </p:spPr>
      </p:pic>
      <p:sp>
        <p:nvSpPr>
          <p:cNvPr id="16" name="Google Shape;1036;p49">
            <a:extLst>
              <a:ext uri="{FF2B5EF4-FFF2-40B4-BE49-F238E27FC236}">
                <a16:creationId xmlns:a16="http://schemas.microsoft.com/office/drawing/2014/main" id="{C6FEB902-B5B1-433A-9BF8-54E450574B1A}"/>
              </a:ext>
            </a:extLst>
          </p:cNvPr>
          <p:cNvSpPr txBox="1"/>
          <p:nvPr/>
        </p:nvSpPr>
        <p:spPr>
          <a:xfrm>
            <a:off x="76200" y="48350"/>
            <a:ext cx="4025900" cy="402300"/>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 sz="1800" b="1" dirty="0">
                <a:solidFill>
                  <a:schemeClr val="lt1"/>
                </a:solidFill>
                <a:latin typeface="Archivo Black"/>
                <a:ea typeface="Archivo Black"/>
                <a:cs typeface="Archivo Black"/>
                <a:sym typeface="Archivo Black"/>
              </a:rPr>
              <a:t>ESTABLISHING SHOTS</a:t>
            </a:r>
            <a:endParaRPr sz="1800" b="1" dirty="0">
              <a:solidFill>
                <a:schemeClr val="lt1"/>
              </a:solidFill>
              <a:latin typeface="Archivo Black"/>
              <a:ea typeface="Archivo Black"/>
              <a:cs typeface="Archivo Black"/>
              <a:sym typeface="Archivo Black"/>
            </a:endParaRPr>
          </a:p>
        </p:txBody>
      </p:sp>
    </p:spTree>
    <p:extLst>
      <p:ext uri="{BB962C8B-B14F-4D97-AF65-F5344CB8AC3E}">
        <p14:creationId xmlns:p14="http://schemas.microsoft.com/office/powerpoint/2010/main" val="599444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801"/>
        <p:cNvGrpSpPr/>
        <p:nvPr/>
      </p:nvGrpSpPr>
      <p:grpSpPr>
        <a:xfrm>
          <a:off x="0" y="0"/>
          <a:ext cx="0" cy="0"/>
          <a:chOff x="0" y="0"/>
          <a:chExt cx="0" cy="0"/>
        </a:xfrm>
      </p:grpSpPr>
      <p:pic>
        <p:nvPicPr>
          <p:cNvPr id="2" name="Online Media 1" title="Camera Angles, Shots, and Movements: The Pan">
            <a:hlinkClick r:id="" action="ppaction://media"/>
            <a:extLst>
              <a:ext uri="{FF2B5EF4-FFF2-40B4-BE49-F238E27FC236}">
                <a16:creationId xmlns:a16="http://schemas.microsoft.com/office/drawing/2014/main" id="{C5FA6D74-7B13-4F60-9E3F-97B6549A6654}"/>
              </a:ext>
            </a:extLst>
          </p:cNvPr>
          <p:cNvPicPr>
            <a:picLocks noRot="1" noChangeAspect="1"/>
          </p:cNvPicPr>
          <p:nvPr>
            <a:videoFile r:link="rId1"/>
            <p:custDataLst>
              <p:tags r:id="rId2"/>
            </p:custDataLst>
          </p:nvPr>
        </p:nvPicPr>
        <p:blipFill>
          <a:blip r:embed="rId5"/>
          <a:stretch>
            <a:fillRect/>
          </a:stretch>
        </p:blipFill>
        <p:spPr>
          <a:xfrm>
            <a:off x="1879600" y="712694"/>
            <a:ext cx="5384800" cy="3042412"/>
          </a:xfrm>
          <a:prstGeom prst="rect">
            <a:avLst/>
          </a:prstGeom>
        </p:spPr>
      </p:pic>
      <p:sp>
        <p:nvSpPr>
          <p:cNvPr id="16" name="Google Shape;1036;p49">
            <a:extLst>
              <a:ext uri="{FF2B5EF4-FFF2-40B4-BE49-F238E27FC236}">
                <a16:creationId xmlns:a16="http://schemas.microsoft.com/office/drawing/2014/main" id="{C6FEB902-B5B1-433A-9BF8-54E450574B1A}"/>
              </a:ext>
            </a:extLst>
          </p:cNvPr>
          <p:cNvSpPr txBox="1"/>
          <p:nvPr/>
        </p:nvSpPr>
        <p:spPr>
          <a:xfrm>
            <a:off x="76200" y="48350"/>
            <a:ext cx="6261100" cy="402300"/>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 sz="1800" b="1" dirty="0">
                <a:solidFill>
                  <a:schemeClr val="lt1"/>
                </a:solidFill>
                <a:latin typeface="Archivo Black"/>
                <a:ea typeface="Archivo Black"/>
                <a:cs typeface="Archivo Black"/>
                <a:sym typeface="Archivo Black"/>
              </a:rPr>
              <a:t>DOUBLE TAKES for everything: static, pans, tilts </a:t>
            </a:r>
            <a:endParaRPr sz="1800" b="1" dirty="0">
              <a:solidFill>
                <a:schemeClr val="lt1"/>
              </a:solidFill>
              <a:latin typeface="Archivo Black"/>
              <a:ea typeface="Archivo Black"/>
              <a:cs typeface="Archivo Black"/>
              <a:sym typeface="Archivo Black"/>
            </a:endParaRPr>
          </a:p>
        </p:txBody>
      </p:sp>
    </p:spTree>
    <p:extLst>
      <p:ext uri="{BB962C8B-B14F-4D97-AF65-F5344CB8AC3E}">
        <p14:creationId xmlns:p14="http://schemas.microsoft.com/office/powerpoint/2010/main" val="118433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801"/>
        <p:cNvGrpSpPr/>
        <p:nvPr/>
      </p:nvGrpSpPr>
      <p:grpSpPr>
        <a:xfrm>
          <a:off x="0" y="0"/>
          <a:ext cx="0" cy="0"/>
          <a:chOff x="0" y="0"/>
          <a:chExt cx="0" cy="0"/>
        </a:xfrm>
      </p:grpSpPr>
      <p:pic>
        <p:nvPicPr>
          <p:cNvPr id="5" name="Picture 4" descr="A picture containing water, outdoor, sky, nature&#10;&#10;Description automatically generated">
            <a:extLst>
              <a:ext uri="{FF2B5EF4-FFF2-40B4-BE49-F238E27FC236}">
                <a16:creationId xmlns:a16="http://schemas.microsoft.com/office/drawing/2014/main" id="{9570D935-CFA3-4B40-8C96-A5239702081F}"/>
              </a:ext>
            </a:extLst>
          </p:cNvPr>
          <p:cNvPicPr>
            <a:picLocks noChangeAspect="1"/>
          </p:cNvPicPr>
          <p:nvPr/>
        </p:nvPicPr>
        <p:blipFill>
          <a:blip r:embed="rId3"/>
          <a:stretch>
            <a:fillRect/>
          </a:stretch>
        </p:blipFill>
        <p:spPr>
          <a:xfrm rot="21422340">
            <a:off x="1730373" y="844551"/>
            <a:ext cx="5683251" cy="3016248"/>
          </a:xfrm>
          <a:prstGeom prst="rect">
            <a:avLst/>
          </a:prstGeom>
        </p:spPr>
      </p:pic>
      <p:sp>
        <p:nvSpPr>
          <p:cNvPr id="16" name="Google Shape;1036;p49">
            <a:extLst>
              <a:ext uri="{FF2B5EF4-FFF2-40B4-BE49-F238E27FC236}">
                <a16:creationId xmlns:a16="http://schemas.microsoft.com/office/drawing/2014/main" id="{C6FEB902-B5B1-433A-9BF8-54E450574B1A}"/>
              </a:ext>
            </a:extLst>
          </p:cNvPr>
          <p:cNvSpPr txBox="1"/>
          <p:nvPr/>
        </p:nvSpPr>
        <p:spPr>
          <a:xfrm>
            <a:off x="76200" y="48350"/>
            <a:ext cx="6261100" cy="402300"/>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 sz="1800" b="1" dirty="0">
                <a:solidFill>
                  <a:schemeClr val="lt1"/>
                </a:solidFill>
                <a:latin typeface="Archivo Black"/>
                <a:ea typeface="Archivo Black"/>
                <a:cs typeface="Archivo Black"/>
                <a:sym typeface="Archivo Black"/>
              </a:rPr>
              <a:t>ALIGH – mind the horizon</a:t>
            </a:r>
            <a:endParaRPr sz="1800" b="1" dirty="0">
              <a:solidFill>
                <a:srgbClr val="FFFF00"/>
              </a:solidFill>
              <a:latin typeface="Archivo Black"/>
              <a:ea typeface="Archivo Black"/>
              <a:cs typeface="Archivo Black"/>
              <a:sym typeface="Archivo Black"/>
            </a:endParaRPr>
          </a:p>
        </p:txBody>
      </p:sp>
      <p:graphicFrame>
        <p:nvGraphicFramePr>
          <p:cNvPr id="3" name="Table 2">
            <a:extLst>
              <a:ext uri="{FF2B5EF4-FFF2-40B4-BE49-F238E27FC236}">
                <a16:creationId xmlns:a16="http://schemas.microsoft.com/office/drawing/2014/main" id="{B7A99E30-5BF6-4DEE-8C11-DC9E0C40CEF9}"/>
              </a:ext>
            </a:extLst>
          </p:cNvPr>
          <p:cNvGraphicFramePr>
            <a:graphicFrameLocks noGrp="1"/>
          </p:cNvGraphicFramePr>
          <p:nvPr>
            <p:extLst>
              <p:ext uri="{D42A27DB-BD31-4B8C-83A1-F6EECF244321}">
                <p14:modId xmlns:p14="http://schemas.microsoft.com/office/powerpoint/2010/main" val="2142379538"/>
              </p:ext>
            </p:extLst>
          </p:nvPr>
        </p:nvGraphicFramePr>
        <p:xfrm>
          <a:off x="1730374" y="844550"/>
          <a:ext cx="5683251" cy="3016248"/>
        </p:xfrm>
        <a:graphic>
          <a:graphicData uri="http://schemas.openxmlformats.org/drawingml/2006/table">
            <a:tbl>
              <a:tblPr/>
              <a:tblGrid>
                <a:gridCol w="1894417">
                  <a:extLst>
                    <a:ext uri="{9D8B030D-6E8A-4147-A177-3AD203B41FA5}">
                      <a16:colId xmlns:a16="http://schemas.microsoft.com/office/drawing/2014/main" val="1180007531"/>
                    </a:ext>
                  </a:extLst>
                </a:gridCol>
                <a:gridCol w="1894417">
                  <a:extLst>
                    <a:ext uri="{9D8B030D-6E8A-4147-A177-3AD203B41FA5}">
                      <a16:colId xmlns:a16="http://schemas.microsoft.com/office/drawing/2014/main" val="157614761"/>
                    </a:ext>
                  </a:extLst>
                </a:gridCol>
                <a:gridCol w="1894417">
                  <a:extLst>
                    <a:ext uri="{9D8B030D-6E8A-4147-A177-3AD203B41FA5}">
                      <a16:colId xmlns:a16="http://schemas.microsoft.com/office/drawing/2014/main" val="603904888"/>
                    </a:ext>
                  </a:extLst>
                </a:gridCol>
              </a:tblGrid>
              <a:tr h="1005416">
                <a:tc>
                  <a:txBody>
                    <a:bodyPr/>
                    <a:lstStyle/>
                    <a:p>
                      <a:endParaRPr lang="en-US" dirty="0"/>
                    </a:p>
                  </a:txBody>
                  <a:tcPr>
                    <a:lnL w="38100" cmpd="sng">
                      <a:solidFill>
                        <a:srgbClr val="EAE5C4"/>
                      </a:solidFill>
                      <a:prstDash val="solid"/>
                    </a:lnL>
                    <a:lnR w="38100" cap="flat" cmpd="sng" algn="ctr">
                      <a:solidFill>
                        <a:srgbClr val="EAE5C4"/>
                      </a:solidFill>
                      <a:prstDash val="solid"/>
                      <a:round/>
                      <a:headEnd type="none" w="med" len="med"/>
                      <a:tailEnd type="none" w="med" len="med"/>
                    </a:lnR>
                    <a:lnT w="38100" cmpd="sng">
                      <a:solidFill>
                        <a:srgbClr val="EAE5C4"/>
                      </a:solidFill>
                      <a:prstDash val="solid"/>
                    </a:lnT>
                    <a:lnB w="38100" cap="flat" cmpd="sng" algn="ctr">
                      <a:solidFill>
                        <a:srgbClr val="EAE5C4"/>
                      </a:solidFill>
                      <a:prstDash val="solid"/>
                      <a:round/>
                      <a:headEnd type="none" w="med" len="med"/>
                      <a:tailEnd type="none" w="med" len="med"/>
                    </a:lnB>
                  </a:tcPr>
                </a:tc>
                <a:tc>
                  <a:txBody>
                    <a:bodyPr/>
                    <a:lstStyle/>
                    <a:p>
                      <a:endParaRPr lang="en-US" dirty="0"/>
                    </a:p>
                  </a:txBody>
                  <a:tcPr>
                    <a:lnL w="38100" cmpd="sng">
                      <a:solidFill>
                        <a:srgbClr val="EAE5C4"/>
                      </a:solidFill>
                      <a:prstDash val="solid"/>
                    </a:lnL>
                    <a:lnR w="38100" cap="flat" cmpd="sng" algn="ctr">
                      <a:solidFill>
                        <a:srgbClr val="EAE5C4"/>
                      </a:solidFill>
                      <a:prstDash val="solid"/>
                      <a:round/>
                      <a:headEnd type="none" w="med" len="med"/>
                      <a:tailEnd type="none" w="med" len="med"/>
                    </a:lnR>
                    <a:lnT w="38100" cmpd="sng">
                      <a:solidFill>
                        <a:srgbClr val="EAE5C4"/>
                      </a:solidFill>
                      <a:prstDash val="solid"/>
                    </a:lnT>
                    <a:lnB w="38100" cap="flat" cmpd="sng" algn="ctr">
                      <a:solidFill>
                        <a:srgbClr val="EAE5C4"/>
                      </a:solidFill>
                      <a:prstDash val="solid"/>
                      <a:round/>
                      <a:headEnd type="none" w="med" len="med"/>
                      <a:tailEnd type="none" w="med" len="med"/>
                    </a:lnB>
                  </a:tcPr>
                </a:tc>
                <a:tc>
                  <a:txBody>
                    <a:bodyPr/>
                    <a:lstStyle/>
                    <a:p>
                      <a:endParaRPr lang="en-US" dirty="0"/>
                    </a:p>
                  </a:txBody>
                  <a:tcPr>
                    <a:lnL w="38100" cmpd="sng">
                      <a:solidFill>
                        <a:srgbClr val="EAE5C4"/>
                      </a:solidFill>
                      <a:prstDash val="solid"/>
                    </a:lnL>
                    <a:lnR w="38100" cmpd="sng">
                      <a:solidFill>
                        <a:srgbClr val="EAE5C4"/>
                      </a:solidFill>
                      <a:prstDash val="solid"/>
                    </a:lnR>
                    <a:lnT w="38100" cmpd="sng">
                      <a:solidFill>
                        <a:srgbClr val="EAE5C4"/>
                      </a:solidFill>
                      <a:prstDash val="solid"/>
                    </a:lnT>
                    <a:lnB w="38100" cap="flat" cmpd="sng" algn="ctr">
                      <a:solidFill>
                        <a:srgbClr val="EAE5C4"/>
                      </a:solidFill>
                      <a:prstDash val="solid"/>
                      <a:round/>
                      <a:headEnd type="none" w="med" len="med"/>
                      <a:tailEnd type="none" w="med" len="med"/>
                    </a:lnB>
                  </a:tcPr>
                </a:tc>
                <a:extLst>
                  <a:ext uri="{0D108BD9-81ED-4DB2-BD59-A6C34878D82A}">
                    <a16:rowId xmlns:a16="http://schemas.microsoft.com/office/drawing/2014/main" val="4128185571"/>
                  </a:ext>
                </a:extLst>
              </a:tr>
              <a:tr h="1005416">
                <a:tc>
                  <a:txBody>
                    <a:bodyPr/>
                    <a:lstStyle/>
                    <a:p>
                      <a:endParaRPr lang="en-US" dirty="0"/>
                    </a:p>
                  </a:txBody>
                  <a:tcPr>
                    <a:lnL w="38100" cmpd="sng">
                      <a:solidFill>
                        <a:srgbClr val="EAE5C4"/>
                      </a:solidFill>
                      <a:prstDash val="solid"/>
                    </a:lnL>
                    <a:lnR w="38100" cap="flat" cmpd="sng" algn="ctr">
                      <a:solidFill>
                        <a:srgbClr val="EAE5C4"/>
                      </a:solidFill>
                      <a:prstDash val="solid"/>
                      <a:round/>
                      <a:headEnd type="none" w="med" len="med"/>
                      <a:tailEnd type="none" w="med" len="med"/>
                    </a:lnR>
                    <a:lnT w="38100" cmpd="sng">
                      <a:solidFill>
                        <a:srgbClr val="EAE5C4"/>
                      </a:solidFill>
                      <a:prstDash val="solid"/>
                    </a:lnT>
                    <a:lnB w="38100" cap="flat" cmpd="sng" algn="ctr">
                      <a:solidFill>
                        <a:srgbClr val="EAE5C4"/>
                      </a:solidFill>
                      <a:prstDash val="solid"/>
                      <a:round/>
                      <a:headEnd type="none" w="med" len="med"/>
                      <a:tailEnd type="none" w="med" len="med"/>
                    </a:lnB>
                  </a:tcPr>
                </a:tc>
                <a:tc>
                  <a:txBody>
                    <a:bodyPr/>
                    <a:lstStyle/>
                    <a:p>
                      <a:endParaRPr lang="en-US" dirty="0"/>
                    </a:p>
                  </a:txBody>
                  <a:tcPr>
                    <a:lnL w="38100" cmpd="sng">
                      <a:solidFill>
                        <a:srgbClr val="EAE5C4"/>
                      </a:solidFill>
                      <a:prstDash val="solid"/>
                    </a:lnL>
                    <a:lnR w="38100" cap="flat" cmpd="sng" algn="ctr">
                      <a:solidFill>
                        <a:srgbClr val="EAE5C4"/>
                      </a:solidFill>
                      <a:prstDash val="solid"/>
                      <a:round/>
                      <a:headEnd type="none" w="med" len="med"/>
                      <a:tailEnd type="none" w="med" len="med"/>
                    </a:lnR>
                    <a:lnT w="38100" cap="flat" cmpd="sng" algn="ctr">
                      <a:solidFill>
                        <a:srgbClr val="EAE5C4"/>
                      </a:solidFill>
                      <a:prstDash val="solid"/>
                      <a:round/>
                      <a:headEnd type="none" w="med" len="med"/>
                      <a:tailEnd type="none" w="med" len="med"/>
                    </a:lnT>
                    <a:lnB w="38100" cap="flat" cmpd="sng" algn="ctr">
                      <a:solidFill>
                        <a:srgbClr val="EAE5C4"/>
                      </a:solidFill>
                      <a:prstDash val="solid"/>
                      <a:round/>
                      <a:headEnd type="none" w="med" len="med"/>
                      <a:tailEnd type="none" w="med" len="med"/>
                    </a:lnB>
                  </a:tcPr>
                </a:tc>
                <a:tc>
                  <a:txBody>
                    <a:bodyPr/>
                    <a:lstStyle/>
                    <a:p>
                      <a:endParaRPr lang="en-US" dirty="0"/>
                    </a:p>
                  </a:txBody>
                  <a:tcPr>
                    <a:lnL w="38100" cmpd="sng">
                      <a:solidFill>
                        <a:srgbClr val="EAE5C4"/>
                      </a:solidFill>
                      <a:prstDash val="solid"/>
                    </a:lnL>
                    <a:lnR w="38100" cmpd="sng">
                      <a:solidFill>
                        <a:srgbClr val="EAE5C4"/>
                      </a:solidFill>
                      <a:prstDash val="solid"/>
                    </a:lnR>
                    <a:lnT w="38100" cap="flat" cmpd="sng" algn="ctr">
                      <a:solidFill>
                        <a:srgbClr val="EAE5C4"/>
                      </a:solidFill>
                      <a:prstDash val="solid"/>
                      <a:round/>
                      <a:headEnd type="none" w="med" len="med"/>
                      <a:tailEnd type="none" w="med" len="med"/>
                    </a:lnT>
                    <a:lnB w="38100" cap="flat" cmpd="sng" algn="ctr">
                      <a:solidFill>
                        <a:srgbClr val="EAE5C4"/>
                      </a:solidFill>
                      <a:prstDash val="solid"/>
                      <a:round/>
                      <a:headEnd type="none" w="med" len="med"/>
                      <a:tailEnd type="none" w="med" len="med"/>
                    </a:lnB>
                  </a:tcPr>
                </a:tc>
                <a:extLst>
                  <a:ext uri="{0D108BD9-81ED-4DB2-BD59-A6C34878D82A}">
                    <a16:rowId xmlns:a16="http://schemas.microsoft.com/office/drawing/2014/main" val="4186235794"/>
                  </a:ext>
                </a:extLst>
              </a:tr>
              <a:tr h="1005416">
                <a:tc>
                  <a:txBody>
                    <a:bodyPr/>
                    <a:lstStyle/>
                    <a:p>
                      <a:endParaRPr lang="en-US" dirty="0"/>
                    </a:p>
                  </a:txBody>
                  <a:tcPr>
                    <a:lnL w="38100" cmpd="sng">
                      <a:solidFill>
                        <a:srgbClr val="EAE5C4"/>
                      </a:solidFill>
                      <a:prstDash val="solid"/>
                    </a:lnL>
                    <a:lnR w="38100" cap="flat" cmpd="sng" algn="ctr">
                      <a:solidFill>
                        <a:srgbClr val="EAE5C4"/>
                      </a:solidFill>
                      <a:prstDash val="solid"/>
                      <a:round/>
                      <a:headEnd type="none" w="med" len="med"/>
                      <a:tailEnd type="none" w="med" len="med"/>
                    </a:lnR>
                    <a:lnT w="38100" cmpd="sng">
                      <a:solidFill>
                        <a:srgbClr val="EAE5C4"/>
                      </a:solidFill>
                      <a:prstDash val="solid"/>
                    </a:lnT>
                    <a:lnB w="38100" cmpd="sng">
                      <a:solidFill>
                        <a:srgbClr val="EAE5C4"/>
                      </a:solidFill>
                      <a:prstDash val="solid"/>
                    </a:lnB>
                  </a:tcPr>
                </a:tc>
                <a:tc>
                  <a:txBody>
                    <a:bodyPr/>
                    <a:lstStyle/>
                    <a:p>
                      <a:endParaRPr lang="en-US" dirty="0"/>
                    </a:p>
                  </a:txBody>
                  <a:tcPr>
                    <a:lnL w="38100" cmpd="sng">
                      <a:solidFill>
                        <a:srgbClr val="EAE5C4"/>
                      </a:solidFill>
                      <a:prstDash val="solid"/>
                    </a:lnL>
                    <a:lnR w="38100" cap="flat" cmpd="sng" algn="ctr">
                      <a:solidFill>
                        <a:srgbClr val="EAE5C4"/>
                      </a:solidFill>
                      <a:prstDash val="solid"/>
                      <a:round/>
                      <a:headEnd type="none" w="med" len="med"/>
                      <a:tailEnd type="none" w="med" len="med"/>
                    </a:lnR>
                    <a:lnT w="38100" cap="flat" cmpd="sng" algn="ctr">
                      <a:solidFill>
                        <a:srgbClr val="EAE5C4"/>
                      </a:solidFill>
                      <a:prstDash val="solid"/>
                      <a:round/>
                      <a:headEnd type="none" w="med" len="med"/>
                      <a:tailEnd type="none" w="med" len="med"/>
                    </a:lnT>
                    <a:lnB w="38100" cmpd="sng">
                      <a:solidFill>
                        <a:srgbClr val="EAE5C4"/>
                      </a:solidFill>
                      <a:prstDash val="solid"/>
                    </a:lnB>
                  </a:tcPr>
                </a:tc>
                <a:tc>
                  <a:txBody>
                    <a:bodyPr/>
                    <a:lstStyle/>
                    <a:p>
                      <a:endParaRPr lang="en-US" dirty="0"/>
                    </a:p>
                  </a:txBody>
                  <a:tcPr>
                    <a:lnL w="38100" cmpd="sng">
                      <a:solidFill>
                        <a:srgbClr val="EAE5C4"/>
                      </a:solidFill>
                      <a:prstDash val="solid"/>
                    </a:lnL>
                    <a:lnR w="38100" cmpd="sng">
                      <a:solidFill>
                        <a:srgbClr val="EAE5C4"/>
                      </a:solidFill>
                      <a:prstDash val="solid"/>
                    </a:lnR>
                    <a:lnT w="38100" cap="flat" cmpd="sng" algn="ctr">
                      <a:solidFill>
                        <a:srgbClr val="EAE5C4"/>
                      </a:solidFill>
                      <a:prstDash val="solid"/>
                      <a:round/>
                      <a:headEnd type="none" w="med" len="med"/>
                      <a:tailEnd type="none" w="med" len="med"/>
                    </a:lnT>
                    <a:lnB w="38100" cmpd="sng">
                      <a:solidFill>
                        <a:srgbClr val="EAE5C4"/>
                      </a:solidFill>
                      <a:prstDash val="solid"/>
                    </a:lnB>
                  </a:tcPr>
                </a:tc>
                <a:extLst>
                  <a:ext uri="{0D108BD9-81ED-4DB2-BD59-A6C34878D82A}">
                    <a16:rowId xmlns:a16="http://schemas.microsoft.com/office/drawing/2014/main" val="4004993036"/>
                  </a:ext>
                </a:extLst>
              </a:tr>
            </a:tbl>
          </a:graphicData>
        </a:graphic>
      </p:graphicFrame>
    </p:spTree>
    <p:extLst>
      <p:ext uri="{BB962C8B-B14F-4D97-AF65-F5344CB8AC3E}">
        <p14:creationId xmlns:p14="http://schemas.microsoft.com/office/powerpoint/2010/main" val="28282407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801"/>
        <p:cNvGrpSpPr/>
        <p:nvPr/>
      </p:nvGrpSpPr>
      <p:grpSpPr>
        <a:xfrm>
          <a:off x="0" y="0"/>
          <a:ext cx="0" cy="0"/>
          <a:chOff x="0" y="0"/>
          <a:chExt cx="0" cy="0"/>
        </a:xfrm>
      </p:grpSpPr>
      <p:pic>
        <p:nvPicPr>
          <p:cNvPr id="5" name="Picture 4">
            <a:extLst>
              <a:ext uri="{FF2B5EF4-FFF2-40B4-BE49-F238E27FC236}">
                <a16:creationId xmlns:a16="http://schemas.microsoft.com/office/drawing/2014/main" id="{9570D935-CFA3-4B40-8C96-A5239702081F}"/>
              </a:ext>
            </a:extLst>
          </p:cNvPr>
          <p:cNvPicPr>
            <a:picLocks noChangeAspect="1"/>
          </p:cNvPicPr>
          <p:nvPr/>
        </p:nvPicPr>
        <p:blipFill>
          <a:blip r:embed="rId3"/>
          <a:srcRect/>
          <a:stretch/>
        </p:blipFill>
        <p:spPr>
          <a:xfrm>
            <a:off x="2206978" y="1016000"/>
            <a:ext cx="4730045" cy="2660650"/>
          </a:xfrm>
          <a:prstGeom prst="rect">
            <a:avLst/>
          </a:prstGeom>
        </p:spPr>
      </p:pic>
      <p:sp>
        <p:nvSpPr>
          <p:cNvPr id="2" name="Rectangle 1">
            <a:extLst>
              <a:ext uri="{FF2B5EF4-FFF2-40B4-BE49-F238E27FC236}">
                <a16:creationId xmlns:a16="http://schemas.microsoft.com/office/drawing/2014/main" id="{A2B469C3-EA97-4FBC-979C-725567CFE63E}"/>
              </a:ext>
            </a:extLst>
          </p:cNvPr>
          <p:cNvSpPr/>
          <p:nvPr/>
        </p:nvSpPr>
        <p:spPr>
          <a:xfrm>
            <a:off x="2368415" y="1073728"/>
            <a:ext cx="4407170" cy="2403474"/>
          </a:xfrm>
          <a:prstGeom prst="rect">
            <a:avLst/>
          </a:prstGeom>
          <a:noFill/>
          <a:ln w="635000">
            <a:solidFill>
              <a:srgbClr val="0709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Google Shape;1036;p49">
            <a:extLst>
              <a:ext uri="{FF2B5EF4-FFF2-40B4-BE49-F238E27FC236}">
                <a16:creationId xmlns:a16="http://schemas.microsoft.com/office/drawing/2014/main" id="{C6FEB902-B5B1-433A-9BF8-54E450574B1A}"/>
              </a:ext>
            </a:extLst>
          </p:cNvPr>
          <p:cNvSpPr txBox="1"/>
          <p:nvPr/>
        </p:nvSpPr>
        <p:spPr>
          <a:xfrm>
            <a:off x="76200" y="48350"/>
            <a:ext cx="6261100" cy="402300"/>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 sz="1800" b="1" dirty="0">
                <a:solidFill>
                  <a:schemeClr val="lt1"/>
                </a:solidFill>
                <a:latin typeface="Archivo Black"/>
                <a:ea typeface="Archivo Black"/>
                <a:cs typeface="Archivo Black"/>
                <a:sym typeface="Archivo Black"/>
              </a:rPr>
              <a:t>ALIGH – look around the edges of your </a:t>
            </a:r>
            <a:r>
              <a:rPr lang="en" sz="1800" b="1" dirty="0">
                <a:solidFill>
                  <a:srgbClr val="FFFF00"/>
                </a:solidFill>
                <a:latin typeface="Archivo Black"/>
                <a:ea typeface="Archivo Black"/>
                <a:cs typeface="Archivo Black"/>
                <a:sym typeface="Archivo Black"/>
              </a:rPr>
              <a:t>frame!</a:t>
            </a:r>
            <a:endParaRPr sz="1800" b="1" dirty="0">
              <a:solidFill>
                <a:srgbClr val="FFFF00"/>
              </a:solidFill>
              <a:latin typeface="Archivo Black"/>
              <a:ea typeface="Archivo Black"/>
              <a:cs typeface="Archivo Black"/>
              <a:sym typeface="Archivo Black"/>
            </a:endParaRPr>
          </a:p>
        </p:txBody>
      </p:sp>
    </p:spTree>
    <p:extLst>
      <p:ext uri="{BB962C8B-B14F-4D97-AF65-F5344CB8AC3E}">
        <p14:creationId xmlns:p14="http://schemas.microsoft.com/office/powerpoint/2010/main" val="35855486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801"/>
        <p:cNvGrpSpPr/>
        <p:nvPr/>
      </p:nvGrpSpPr>
      <p:grpSpPr>
        <a:xfrm>
          <a:off x="0" y="0"/>
          <a:ext cx="0" cy="0"/>
          <a:chOff x="0" y="0"/>
          <a:chExt cx="0" cy="0"/>
        </a:xfrm>
      </p:grpSpPr>
      <p:pic>
        <p:nvPicPr>
          <p:cNvPr id="5" name="Picture 4">
            <a:extLst>
              <a:ext uri="{FF2B5EF4-FFF2-40B4-BE49-F238E27FC236}">
                <a16:creationId xmlns:a16="http://schemas.microsoft.com/office/drawing/2014/main" id="{9570D935-CFA3-4B40-8C96-A5239702081F}"/>
              </a:ext>
            </a:extLst>
          </p:cNvPr>
          <p:cNvPicPr>
            <a:picLocks noChangeAspect="1"/>
          </p:cNvPicPr>
          <p:nvPr/>
        </p:nvPicPr>
        <p:blipFill>
          <a:blip r:embed="rId3"/>
          <a:srcRect/>
          <a:stretch/>
        </p:blipFill>
        <p:spPr>
          <a:xfrm rot="21380265">
            <a:off x="1827388" y="1016000"/>
            <a:ext cx="4730045" cy="2660650"/>
          </a:xfrm>
          <a:prstGeom prst="rect">
            <a:avLst/>
          </a:prstGeom>
        </p:spPr>
      </p:pic>
      <p:graphicFrame>
        <p:nvGraphicFramePr>
          <p:cNvPr id="6" name="Table 5">
            <a:extLst>
              <a:ext uri="{FF2B5EF4-FFF2-40B4-BE49-F238E27FC236}">
                <a16:creationId xmlns:a16="http://schemas.microsoft.com/office/drawing/2014/main" id="{AF54A268-E6F8-4B26-9B1C-27586A42590F}"/>
              </a:ext>
            </a:extLst>
          </p:cNvPr>
          <p:cNvGraphicFramePr>
            <a:graphicFrameLocks noGrp="1"/>
          </p:cNvGraphicFramePr>
          <p:nvPr/>
        </p:nvGraphicFramePr>
        <p:xfrm>
          <a:off x="1730374" y="844550"/>
          <a:ext cx="5683251" cy="3016248"/>
        </p:xfrm>
        <a:graphic>
          <a:graphicData uri="http://schemas.openxmlformats.org/drawingml/2006/table">
            <a:tbl>
              <a:tblPr/>
              <a:tblGrid>
                <a:gridCol w="1894417">
                  <a:extLst>
                    <a:ext uri="{9D8B030D-6E8A-4147-A177-3AD203B41FA5}">
                      <a16:colId xmlns:a16="http://schemas.microsoft.com/office/drawing/2014/main" val="1180007531"/>
                    </a:ext>
                  </a:extLst>
                </a:gridCol>
                <a:gridCol w="1894417">
                  <a:extLst>
                    <a:ext uri="{9D8B030D-6E8A-4147-A177-3AD203B41FA5}">
                      <a16:colId xmlns:a16="http://schemas.microsoft.com/office/drawing/2014/main" val="157614761"/>
                    </a:ext>
                  </a:extLst>
                </a:gridCol>
                <a:gridCol w="1894417">
                  <a:extLst>
                    <a:ext uri="{9D8B030D-6E8A-4147-A177-3AD203B41FA5}">
                      <a16:colId xmlns:a16="http://schemas.microsoft.com/office/drawing/2014/main" val="603904888"/>
                    </a:ext>
                  </a:extLst>
                </a:gridCol>
              </a:tblGrid>
              <a:tr h="1005416">
                <a:tc>
                  <a:txBody>
                    <a:bodyPr/>
                    <a:lstStyle/>
                    <a:p>
                      <a:endParaRPr lang="en-US" dirty="0"/>
                    </a:p>
                  </a:txBody>
                  <a:tcPr>
                    <a:lnL w="38100" cmpd="sng">
                      <a:solidFill>
                        <a:srgbClr val="EAE5C4"/>
                      </a:solidFill>
                      <a:prstDash val="solid"/>
                    </a:lnL>
                    <a:lnR w="38100" cap="flat" cmpd="sng" algn="ctr">
                      <a:solidFill>
                        <a:srgbClr val="EAE5C4"/>
                      </a:solidFill>
                      <a:prstDash val="solid"/>
                      <a:round/>
                      <a:headEnd type="none" w="med" len="med"/>
                      <a:tailEnd type="none" w="med" len="med"/>
                    </a:lnR>
                    <a:lnT w="38100" cmpd="sng">
                      <a:solidFill>
                        <a:srgbClr val="EAE5C4"/>
                      </a:solidFill>
                      <a:prstDash val="solid"/>
                    </a:lnT>
                    <a:lnB w="38100" cap="flat" cmpd="sng" algn="ctr">
                      <a:solidFill>
                        <a:srgbClr val="EAE5C4"/>
                      </a:solidFill>
                      <a:prstDash val="solid"/>
                      <a:round/>
                      <a:headEnd type="none" w="med" len="med"/>
                      <a:tailEnd type="none" w="med" len="med"/>
                    </a:lnB>
                  </a:tcPr>
                </a:tc>
                <a:tc>
                  <a:txBody>
                    <a:bodyPr/>
                    <a:lstStyle/>
                    <a:p>
                      <a:endParaRPr lang="en-US" dirty="0"/>
                    </a:p>
                  </a:txBody>
                  <a:tcPr>
                    <a:lnL w="38100" cmpd="sng">
                      <a:solidFill>
                        <a:srgbClr val="EAE5C4"/>
                      </a:solidFill>
                      <a:prstDash val="solid"/>
                    </a:lnL>
                    <a:lnR w="38100" cap="flat" cmpd="sng" algn="ctr">
                      <a:solidFill>
                        <a:srgbClr val="EAE5C4"/>
                      </a:solidFill>
                      <a:prstDash val="solid"/>
                      <a:round/>
                      <a:headEnd type="none" w="med" len="med"/>
                      <a:tailEnd type="none" w="med" len="med"/>
                    </a:lnR>
                    <a:lnT w="38100" cmpd="sng">
                      <a:solidFill>
                        <a:srgbClr val="EAE5C4"/>
                      </a:solidFill>
                      <a:prstDash val="solid"/>
                    </a:lnT>
                    <a:lnB w="38100" cap="flat" cmpd="sng" algn="ctr">
                      <a:solidFill>
                        <a:srgbClr val="EAE5C4"/>
                      </a:solidFill>
                      <a:prstDash val="solid"/>
                      <a:round/>
                      <a:headEnd type="none" w="med" len="med"/>
                      <a:tailEnd type="none" w="med" len="med"/>
                    </a:lnB>
                  </a:tcPr>
                </a:tc>
                <a:tc>
                  <a:txBody>
                    <a:bodyPr/>
                    <a:lstStyle/>
                    <a:p>
                      <a:endParaRPr lang="en-US" dirty="0"/>
                    </a:p>
                  </a:txBody>
                  <a:tcPr>
                    <a:lnL w="38100" cmpd="sng">
                      <a:solidFill>
                        <a:srgbClr val="EAE5C4"/>
                      </a:solidFill>
                      <a:prstDash val="solid"/>
                    </a:lnL>
                    <a:lnR w="38100" cmpd="sng">
                      <a:solidFill>
                        <a:srgbClr val="EAE5C4"/>
                      </a:solidFill>
                      <a:prstDash val="solid"/>
                    </a:lnR>
                    <a:lnT w="38100" cmpd="sng">
                      <a:solidFill>
                        <a:srgbClr val="EAE5C4"/>
                      </a:solidFill>
                      <a:prstDash val="solid"/>
                    </a:lnT>
                    <a:lnB w="38100" cap="flat" cmpd="sng" algn="ctr">
                      <a:solidFill>
                        <a:srgbClr val="EAE5C4"/>
                      </a:solidFill>
                      <a:prstDash val="solid"/>
                      <a:round/>
                      <a:headEnd type="none" w="med" len="med"/>
                      <a:tailEnd type="none" w="med" len="med"/>
                    </a:lnB>
                  </a:tcPr>
                </a:tc>
                <a:extLst>
                  <a:ext uri="{0D108BD9-81ED-4DB2-BD59-A6C34878D82A}">
                    <a16:rowId xmlns:a16="http://schemas.microsoft.com/office/drawing/2014/main" val="4128185571"/>
                  </a:ext>
                </a:extLst>
              </a:tr>
              <a:tr h="1005416">
                <a:tc>
                  <a:txBody>
                    <a:bodyPr/>
                    <a:lstStyle/>
                    <a:p>
                      <a:endParaRPr lang="en-US" dirty="0"/>
                    </a:p>
                  </a:txBody>
                  <a:tcPr>
                    <a:lnL w="38100" cmpd="sng">
                      <a:solidFill>
                        <a:srgbClr val="EAE5C4"/>
                      </a:solidFill>
                      <a:prstDash val="solid"/>
                    </a:lnL>
                    <a:lnR w="38100" cap="flat" cmpd="sng" algn="ctr">
                      <a:solidFill>
                        <a:srgbClr val="EAE5C4"/>
                      </a:solidFill>
                      <a:prstDash val="solid"/>
                      <a:round/>
                      <a:headEnd type="none" w="med" len="med"/>
                      <a:tailEnd type="none" w="med" len="med"/>
                    </a:lnR>
                    <a:lnT w="38100" cmpd="sng">
                      <a:solidFill>
                        <a:srgbClr val="EAE5C4"/>
                      </a:solidFill>
                      <a:prstDash val="solid"/>
                    </a:lnT>
                    <a:lnB w="38100" cap="flat" cmpd="sng" algn="ctr">
                      <a:solidFill>
                        <a:srgbClr val="EAE5C4"/>
                      </a:solidFill>
                      <a:prstDash val="solid"/>
                      <a:round/>
                      <a:headEnd type="none" w="med" len="med"/>
                      <a:tailEnd type="none" w="med" len="med"/>
                    </a:lnB>
                  </a:tcPr>
                </a:tc>
                <a:tc>
                  <a:txBody>
                    <a:bodyPr/>
                    <a:lstStyle/>
                    <a:p>
                      <a:endParaRPr lang="en-US" dirty="0"/>
                    </a:p>
                  </a:txBody>
                  <a:tcPr>
                    <a:lnL w="38100" cmpd="sng">
                      <a:solidFill>
                        <a:srgbClr val="EAE5C4"/>
                      </a:solidFill>
                      <a:prstDash val="solid"/>
                    </a:lnL>
                    <a:lnR w="38100" cap="flat" cmpd="sng" algn="ctr">
                      <a:solidFill>
                        <a:srgbClr val="EAE5C4"/>
                      </a:solidFill>
                      <a:prstDash val="solid"/>
                      <a:round/>
                      <a:headEnd type="none" w="med" len="med"/>
                      <a:tailEnd type="none" w="med" len="med"/>
                    </a:lnR>
                    <a:lnT w="38100" cap="flat" cmpd="sng" algn="ctr">
                      <a:solidFill>
                        <a:srgbClr val="EAE5C4"/>
                      </a:solidFill>
                      <a:prstDash val="solid"/>
                      <a:round/>
                      <a:headEnd type="none" w="med" len="med"/>
                      <a:tailEnd type="none" w="med" len="med"/>
                    </a:lnT>
                    <a:lnB w="38100" cap="flat" cmpd="sng" algn="ctr">
                      <a:solidFill>
                        <a:srgbClr val="EAE5C4"/>
                      </a:solidFill>
                      <a:prstDash val="solid"/>
                      <a:round/>
                      <a:headEnd type="none" w="med" len="med"/>
                      <a:tailEnd type="none" w="med" len="med"/>
                    </a:lnB>
                  </a:tcPr>
                </a:tc>
                <a:tc>
                  <a:txBody>
                    <a:bodyPr/>
                    <a:lstStyle/>
                    <a:p>
                      <a:endParaRPr lang="en-US" dirty="0"/>
                    </a:p>
                  </a:txBody>
                  <a:tcPr>
                    <a:lnL w="38100" cmpd="sng">
                      <a:solidFill>
                        <a:srgbClr val="EAE5C4"/>
                      </a:solidFill>
                      <a:prstDash val="solid"/>
                    </a:lnL>
                    <a:lnR w="38100" cmpd="sng">
                      <a:solidFill>
                        <a:srgbClr val="EAE5C4"/>
                      </a:solidFill>
                      <a:prstDash val="solid"/>
                    </a:lnR>
                    <a:lnT w="38100" cap="flat" cmpd="sng" algn="ctr">
                      <a:solidFill>
                        <a:srgbClr val="EAE5C4"/>
                      </a:solidFill>
                      <a:prstDash val="solid"/>
                      <a:round/>
                      <a:headEnd type="none" w="med" len="med"/>
                      <a:tailEnd type="none" w="med" len="med"/>
                    </a:lnT>
                    <a:lnB w="38100" cap="flat" cmpd="sng" algn="ctr">
                      <a:solidFill>
                        <a:srgbClr val="EAE5C4"/>
                      </a:solidFill>
                      <a:prstDash val="solid"/>
                      <a:round/>
                      <a:headEnd type="none" w="med" len="med"/>
                      <a:tailEnd type="none" w="med" len="med"/>
                    </a:lnB>
                  </a:tcPr>
                </a:tc>
                <a:extLst>
                  <a:ext uri="{0D108BD9-81ED-4DB2-BD59-A6C34878D82A}">
                    <a16:rowId xmlns:a16="http://schemas.microsoft.com/office/drawing/2014/main" val="4186235794"/>
                  </a:ext>
                </a:extLst>
              </a:tr>
              <a:tr h="1005416">
                <a:tc>
                  <a:txBody>
                    <a:bodyPr/>
                    <a:lstStyle/>
                    <a:p>
                      <a:endParaRPr lang="en-US" dirty="0"/>
                    </a:p>
                  </a:txBody>
                  <a:tcPr>
                    <a:lnL w="38100" cmpd="sng">
                      <a:solidFill>
                        <a:srgbClr val="EAE5C4"/>
                      </a:solidFill>
                      <a:prstDash val="solid"/>
                    </a:lnL>
                    <a:lnR w="38100" cap="flat" cmpd="sng" algn="ctr">
                      <a:solidFill>
                        <a:srgbClr val="EAE5C4"/>
                      </a:solidFill>
                      <a:prstDash val="solid"/>
                      <a:round/>
                      <a:headEnd type="none" w="med" len="med"/>
                      <a:tailEnd type="none" w="med" len="med"/>
                    </a:lnR>
                    <a:lnT w="38100" cmpd="sng">
                      <a:solidFill>
                        <a:srgbClr val="EAE5C4"/>
                      </a:solidFill>
                      <a:prstDash val="solid"/>
                    </a:lnT>
                    <a:lnB w="38100" cmpd="sng">
                      <a:solidFill>
                        <a:srgbClr val="EAE5C4"/>
                      </a:solidFill>
                      <a:prstDash val="solid"/>
                    </a:lnB>
                  </a:tcPr>
                </a:tc>
                <a:tc>
                  <a:txBody>
                    <a:bodyPr/>
                    <a:lstStyle/>
                    <a:p>
                      <a:endParaRPr lang="en-US" dirty="0"/>
                    </a:p>
                  </a:txBody>
                  <a:tcPr>
                    <a:lnL w="38100" cmpd="sng">
                      <a:solidFill>
                        <a:srgbClr val="EAE5C4"/>
                      </a:solidFill>
                      <a:prstDash val="solid"/>
                    </a:lnL>
                    <a:lnR w="38100" cap="flat" cmpd="sng" algn="ctr">
                      <a:solidFill>
                        <a:srgbClr val="EAE5C4"/>
                      </a:solidFill>
                      <a:prstDash val="solid"/>
                      <a:round/>
                      <a:headEnd type="none" w="med" len="med"/>
                      <a:tailEnd type="none" w="med" len="med"/>
                    </a:lnR>
                    <a:lnT w="38100" cap="flat" cmpd="sng" algn="ctr">
                      <a:solidFill>
                        <a:srgbClr val="EAE5C4"/>
                      </a:solidFill>
                      <a:prstDash val="solid"/>
                      <a:round/>
                      <a:headEnd type="none" w="med" len="med"/>
                      <a:tailEnd type="none" w="med" len="med"/>
                    </a:lnT>
                    <a:lnB w="38100" cmpd="sng">
                      <a:solidFill>
                        <a:srgbClr val="EAE5C4"/>
                      </a:solidFill>
                      <a:prstDash val="solid"/>
                    </a:lnB>
                  </a:tcPr>
                </a:tc>
                <a:tc>
                  <a:txBody>
                    <a:bodyPr/>
                    <a:lstStyle/>
                    <a:p>
                      <a:endParaRPr lang="en-US" dirty="0"/>
                    </a:p>
                  </a:txBody>
                  <a:tcPr>
                    <a:lnL w="38100" cmpd="sng">
                      <a:solidFill>
                        <a:srgbClr val="EAE5C4"/>
                      </a:solidFill>
                      <a:prstDash val="solid"/>
                    </a:lnL>
                    <a:lnR w="38100" cmpd="sng">
                      <a:solidFill>
                        <a:srgbClr val="EAE5C4"/>
                      </a:solidFill>
                      <a:prstDash val="solid"/>
                    </a:lnR>
                    <a:lnT w="38100" cap="flat" cmpd="sng" algn="ctr">
                      <a:solidFill>
                        <a:srgbClr val="EAE5C4"/>
                      </a:solidFill>
                      <a:prstDash val="solid"/>
                      <a:round/>
                      <a:headEnd type="none" w="med" len="med"/>
                      <a:tailEnd type="none" w="med" len="med"/>
                    </a:lnT>
                    <a:lnB w="38100" cmpd="sng">
                      <a:solidFill>
                        <a:srgbClr val="EAE5C4"/>
                      </a:solidFill>
                      <a:prstDash val="solid"/>
                    </a:lnB>
                  </a:tcPr>
                </a:tc>
                <a:extLst>
                  <a:ext uri="{0D108BD9-81ED-4DB2-BD59-A6C34878D82A}">
                    <a16:rowId xmlns:a16="http://schemas.microsoft.com/office/drawing/2014/main" val="4004993036"/>
                  </a:ext>
                </a:extLst>
              </a:tr>
            </a:tbl>
          </a:graphicData>
        </a:graphic>
      </p:graphicFrame>
      <p:sp>
        <p:nvSpPr>
          <p:cNvPr id="16" name="Google Shape;1036;p49">
            <a:extLst>
              <a:ext uri="{FF2B5EF4-FFF2-40B4-BE49-F238E27FC236}">
                <a16:creationId xmlns:a16="http://schemas.microsoft.com/office/drawing/2014/main" id="{C6FEB902-B5B1-433A-9BF8-54E450574B1A}"/>
              </a:ext>
            </a:extLst>
          </p:cNvPr>
          <p:cNvSpPr txBox="1"/>
          <p:nvPr/>
        </p:nvSpPr>
        <p:spPr>
          <a:xfrm>
            <a:off x="76200" y="48350"/>
            <a:ext cx="6261100" cy="402300"/>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 sz="1800" b="1" dirty="0">
                <a:solidFill>
                  <a:schemeClr val="lt1"/>
                </a:solidFill>
                <a:latin typeface="Archivo Black"/>
                <a:ea typeface="Archivo Black"/>
                <a:cs typeface="Archivo Black"/>
                <a:sym typeface="Archivo Black"/>
              </a:rPr>
              <a:t>ALIGH – look around the edges of your </a:t>
            </a:r>
            <a:r>
              <a:rPr lang="en" sz="1800" b="1" dirty="0">
                <a:solidFill>
                  <a:srgbClr val="FFFF00"/>
                </a:solidFill>
                <a:latin typeface="Archivo Black"/>
                <a:ea typeface="Archivo Black"/>
                <a:cs typeface="Archivo Black"/>
                <a:sym typeface="Archivo Black"/>
              </a:rPr>
              <a:t>frame!</a:t>
            </a:r>
            <a:endParaRPr sz="1800" b="1" dirty="0">
              <a:solidFill>
                <a:srgbClr val="FFFF00"/>
              </a:solidFill>
              <a:latin typeface="Archivo Black"/>
              <a:ea typeface="Archivo Black"/>
              <a:cs typeface="Archivo Black"/>
              <a:sym typeface="Archivo Black"/>
            </a:endParaRPr>
          </a:p>
        </p:txBody>
      </p:sp>
    </p:spTree>
    <p:extLst>
      <p:ext uri="{BB962C8B-B14F-4D97-AF65-F5344CB8AC3E}">
        <p14:creationId xmlns:p14="http://schemas.microsoft.com/office/powerpoint/2010/main" val="11720468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801"/>
        <p:cNvGrpSpPr/>
        <p:nvPr/>
      </p:nvGrpSpPr>
      <p:grpSpPr>
        <a:xfrm>
          <a:off x="0" y="0"/>
          <a:ext cx="0" cy="0"/>
          <a:chOff x="0" y="0"/>
          <a:chExt cx="0" cy="0"/>
        </a:xfrm>
      </p:grpSpPr>
      <p:sp>
        <p:nvSpPr>
          <p:cNvPr id="7" name="Google Shape;878;p43">
            <a:extLst>
              <a:ext uri="{FF2B5EF4-FFF2-40B4-BE49-F238E27FC236}">
                <a16:creationId xmlns:a16="http://schemas.microsoft.com/office/drawing/2014/main" id="{499DB647-D1D7-4F2A-ABDE-0B539C71C33A}"/>
              </a:ext>
            </a:extLst>
          </p:cNvPr>
          <p:cNvSpPr txBox="1">
            <a:spLocks/>
          </p:cNvSpPr>
          <p:nvPr/>
        </p:nvSpPr>
        <p:spPr>
          <a:xfrm>
            <a:off x="66126" y="402757"/>
            <a:ext cx="9077873" cy="194375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30200" algn="l" rtl="0">
              <a:lnSpc>
                <a:spcPct val="100000"/>
              </a:lnSpc>
              <a:spcBef>
                <a:spcPts val="0"/>
              </a:spcBef>
              <a:spcAft>
                <a:spcPts val="0"/>
              </a:spcAft>
              <a:buClr>
                <a:schemeClr val="accent2"/>
              </a:buClr>
              <a:buSzPts val="1600"/>
              <a:buFont typeface="Roboto"/>
              <a:buChar char="●"/>
              <a:defRPr sz="1600" b="0" i="0" u="none" strike="noStrike" cap="none">
                <a:solidFill>
                  <a:schemeClr val="lt1"/>
                </a:solidFill>
                <a:latin typeface="Roboto"/>
                <a:ea typeface="Roboto"/>
                <a:cs typeface="Roboto"/>
                <a:sym typeface="Roboto"/>
              </a:defRPr>
            </a:lvl1pPr>
            <a:lvl2pPr marL="914400" marR="0" lvl="1"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2pPr>
            <a:lvl3pPr marL="1371600" marR="0" lvl="2"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3pPr>
            <a:lvl4pPr marL="1828800" marR="0" lvl="3"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4pPr>
            <a:lvl5pPr marL="2286000" marR="0" lvl="4"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5pPr>
            <a:lvl6pPr marL="2743200" marR="0" lvl="5"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6pPr>
            <a:lvl7pPr marL="3200400" marR="0" lvl="6"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7pPr>
            <a:lvl8pPr marL="3657600" marR="0" lvl="7"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8pPr>
            <a:lvl9pPr marL="4114800" marR="0" lvl="8"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9pPr>
          </a:lstStyle>
          <a:p>
            <a:pPr marL="285750" indent="-285750">
              <a:buFont typeface="Arial" panose="020B0604020202020204" pitchFamily="34" charset="0"/>
              <a:buChar char="•"/>
            </a:pPr>
            <a:r>
              <a:rPr lang="en-US" sz="1200" dirty="0"/>
              <a:t>Record room sounds. You might need as ambient a sound that helps merge cuts with sound </a:t>
            </a:r>
            <a:r>
              <a:rPr lang="en-US" sz="1200" dirty="0" err="1"/>
              <a:t>inconcistencies</a:t>
            </a:r>
            <a:r>
              <a:rPr lang="en-US" sz="1200" dirty="0"/>
              <a:t>. </a:t>
            </a:r>
          </a:p>
          <a:p>
            <a:pPr marL="285750" indent="-285750">
              <a:buFont typeface="Arial" panose="020B0604020202020204" pitchFamily="34" charset="0"/>
              <a:buChar char="•"/>
            </a:pPr>
            <a:r>
              <a:rPr lang="en-US" sz="1200" dirty="0"/>
              <a:t>If there is a source of noise that is messing up your main shot, TAKE a shot of the noise as well (e.g., nearby road with traffic, a cat meowing, someone doing construction work). You might be able to salvage your scene by incorporating that noise into your narrative. </a:t>
            </a:r>
          </a:p>
          <a:p>
            <a:pPr marL="285750" indent="-285750">
              <a:buFont typeface="Arial" panose="020B0604020202020204" pitchFamily="34" charset="0"/>
              <a:buChar char="•"/>
            </a:pPr>
            <a:r>
              <a:rPr lang="en-US" sz="1200" dirty="0"/>
              <a:t>When taking double takes reflect on whether there is something you can change the 2</a:t>
            </a:r>
            <a:r>
              <a:rPr lang="en-US" sz="1200" baseline="30000" dirty="0"/>
              <a:t>nd</a:t>
            </a:r>
            <a:r>
              <a:rPr lang="en-US" sz="1200" dirty="0"/>
              <a:t> and 3</a:t>
            </a:r>
            <a:r>
              <a:rPr lang="en-US" sz="1200" baseline="30000" dirty="0"/>
              <a:t>rd</a:t>
            </a:r>
            <a:r>
              <a:rPr lang="en-US" sz="1200" dirty="0"/>
              <a:t> time that might help the editor (e.g., different speed, framing, slight change of angle). </a:t>
            </a:r>
          </a:p>
          <a:p>
            <a:pPr marL="285750" indent="-285750">
              <a:buFont typeface="Arial" panose="020B0604020202020204" pitchFamily="34" charset="0"/>
              <a:buChar char="•"/>
            </a:pPr>
            <a:r>
              <a:rPr lang="en-US" sz="1200" dirty="0"/>
              <a:t>Always, always, always let the camera roll, paying attention to the sound as well, for +10 secs (at the beginning + at the end of a scene) or for 15 consecutive seconds for a static shot. </a:t>
            </a:r>
          </a:p>
          <a:p>
            <a:pPr marL="285750" indent="-285750">
              <a:buFont typeface="Arial" panose="020B0604020202020204" pitchFamily="34" charset="0"/>
              <a:buChar char="•"/>
            </a:pPr>
            <a:r>
              <a:rPr lang="en-US" sz="1200" dirty="0"/>
              <a:t>BE SMART ABOUT CUTAWAYS – HAVE MORE THAN YOU MIGHT NEED!!! </a:t>
            </a:r>
          </a:p>
          <a:p>
            <a:pPr marL="285750" indent="-285750">
              <a:buFont typeface="Arial" panose="020B0604020202020204" pitchFamily="34" charset="0"/>
              <a:buChar char="•"/>
            </a:pPr>
            <a:r>
              <a:rPr lang="en-US" sz="1200" dirty="0"/>
              <a:t>Here is info about the </a:t>
            </a:r>
            <a:r>
              <a:rPr lang="en-US" sz="1200" dirty="0">
                <a:solidFill>
                  <a:srgbClr val="0070C0"/>
                </a:solidFill>
                <a:hlinkClick r:id="rId3">
                  <a:extLst>
                    <a:ext uri="{A12FA001-AC4F-418D-AE19-62706E023703}">
                      <ahyp:hlinkClr xmlns:ahyp="http://schemas.microsoft.com/office/drawing/2018/hyperlinkcolor" val="tx"/>
                    </a:ext>
                  </a:extLst>
                </a:hlinkClick>
              </a:rPr>
              <a:t>DUTCH TILT</a:t>
            </a:r>
            <a:r>
              <a:rPr lang="en-US" sz="1200" dirty="0">
                <a:solidFill>
                  <a:srgbClr val="0070C0"/>
                </a:solidFill>
              </a:rPr>
              <a:t> </a:t>
            </a:r>
            <a:r>
              <a:rPr lang="en-US" sz="1200" dirty="0"/>
              <a:t>– if you’re gonna mess with your camera’s tilt do it correctly </a:t>
            </a:r>
          </a:p>
        </p:txBody>
      </p:sp>
      <p:sp>
        <p:nvSpPr>
          <p:cNvPr id="8" name="Google Shape;841;p43">
            <a:extLst>
              <a:ext uri="{FF2B5EF4-FFF2-40B4-BE49-F238E27FC236}">
                <a16:creationId xmlns:a16="http://schemas.microsoft.com/office/drawing/2014/main" id="{B637F285-AD99-4BDB-BA76-332D6B9FBAAF}"/>
              </a:ext>
            </a:extLst>
          </p:cNvPr>
          <p:cNvSpPr txBox="1">
            <a:spLocks/>
          </p:cNvSpPr>
          <p:nvPr/>
        </p:nvSpPr>
        <p:spPr>
          <a:xfrm>
            <a:off x="218223" y="108782"/>
            <a:ext cx="2744400" cy="438900"/>
          </a:xfrm>
          <a:prstGeom prst="rect">
            <a:avLst/>
          </a:prstGeom>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800" dirty="0">
                <a:solidFill>
                  <a:schemeClr val="lt1"/>
                </a:solidFill>
                <a:latin typeface="Archivo Black"/>
                <a:sym typeface="Archivo Black"/>
              </a:rPr>
              <a:t>PRODUCTION</a:t>
            </a:r>
          </a:p>
        </p:txBody>
      </p:sp>
      <p:sp>
        <p:nvSpPr>
          <p:cNvPr id="9" name="Google Shape;840;p43">
            <a:extLst>
              <a:ext uri="{FF2B5EF4-FFF2-40B4-BE49-F238E27FC236}">
                <a16:creationId xmlns:a16="http://schemas.microsoft.com/office/drawing/2014/main" id="{126BF025-F3D2-4199-AEFD-C75B0DA5E8AB}"/>
              </a:ext>
            </a:extLst>
          </p:cNvPr>
          <p:cNvSpPr txBox="1">
            <a:spLocks/>
          </p:cNvSpPr>
          <p:nvPr/>
        </p:nvSpPr>
        <p:spPr>
          <a:xfrm>
            <a:off x="218223" y="2306734"/>
            <a:ext cx="2744400" cy="438900"/>
          </a:xfrm>
          <a:prstGeom prst="rect">
            <a:avLst/>
          </a:prstGeom>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800" dirty="0">
                <a:solidFill>
                  <a:schemeClr val="lt1"/>
                </a:solidFill>
                <a:latin typeface="Archivo Black"/>
              </a:rPr>
              <a:t>POST-PRODUCTION</a:t>
            </a:r>
          </a:p>
        </p:txBody>
      </p:sp>
      <p:sp>
        <p:nvSpPr>
          <p:cNvPr id="10" name="Google Shape;878;p43">
            <a:extLst>
              <a:ext uri="{FF2B5EF4-FFF2-40B4-BE49-F238E27FC236}">
                <a16:creationId xmlns:a16="http://schemas.microsoft.com/office/drawing/2014/main" id="{19D05D68-AF10-4B1C-8E58-F94E121E4029}"/>
              </a:ext>
            </a:extLst>
          </p:cNvPr>
          <p:cNvSpPr txBox="1">
            <a:spLocks/>
          </p:cNvSpPr>
          <p:nvPr/>
        </p:nvSpPr>
        <p:spPr>
          <a:xfrm>
            <a:off x="66127" y="2626001"/>
            <a:ext cx="9077873" cy="194375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30200" algn="l" rtl="0">
              <a:lnSpc>
                <a:spcPct val="100000"/>
              </a:lnSpc>
              <a:spcBef>
                <a:spcPts val="0"/>
              </a:spcBef>
              <a:spcAft>
                <a:spcPts val="0"/>
              </a:spcAft>
              <a:buClr>
                <a:schemeClr val="accent2"/>
              </a:buClr>
              <a:buSzPts val="1600"/>
              <a:buFont typeface="Roboto"/>
              <a:buChar char="●"/>
              <a:defRPr sz="1600" b="0" i="0" u="none" strike="noStrike" cap="none">
                <a:solidFill>
                  <a:schemeClr val="lt1"/>
                </a:solidFill>
                <a:latin typeface="Roboto"/>
                <a:ea typeface="Roboto"/>
                <a:cs typeface="Roboto"/>
                <a:sym typeface="Roboto"/>
              </a:defRPr>
            </a:lvl1pPr>
            <a:lvl2pPr marL="914400" marR="0" lvl="1"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2pPr>
            <a:lvl3pPr marL="1371600" marR="0" lvl="2"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3pPr>
            <a:lvl4pPr marL="1828800" marR="0" lvl="3"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4pPr>
            <a:lvl5pPr marL="2286000" marR="0" lvl="4"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5pPr>
            <a:lvl6pPr marL="2743200" marR="0" lvl="5"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6pPr>
            <a:lvl7pPr marL="3200400" marR="0" lvl="6"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7pPr>
            <a:lvl8pPr marL="3657600" marR="0" lvl="7"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8pPr>
            <a:lvl9pPr marL="4114800" marR="0" lvl="8"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9pPr>
          </a:lstStyle>
          <a:p>
            <a:pPr marL="285750" indent="-285750">
              <a:buFont typeface="Arial" panose="020B0604020202020204" pitchFamily="34" charset="0"/>
              <a:buChar char="•"/>
            </a:pPr>
            <a:r>
              <a:rPr lang="en-US" sz="1200" dirty="0"/>
              <a:t>PREMIERE. SPEND AT LEAST A FEW HOURS LEARNING SHORTCUTS AND FAMILIARIZING YOURSELF WITH BUTTONS AND EFFECTS. YOUR LEFT HAND IS AAAAAAALWAYS ON THE KEYBOARD, READY TO PRESS C, V, I, O, Q, E, </a:t>
            </a:r>
            <a:r>
              <a:rPr lang="en-US" sz="1200" dirty="0" err="1"/>
              <a:t>etc</a:t>
            </a:r>
            <a:r>
              <a:rPr lang="en-US" sz="1200" dirty="0"/>
              <a:t>… All these keys will DO something! DO NOT WORK WITH THE MOUSE, it will </a:t>
            </a:r>
            <a:r>
              <a:rPr lang="en-US" sz="1200" dirty="0">
                <a:solidFill>
                  <a:schemeClr val="tx1"/>
                </a:solidFill>
                <a:highlight>
                  <a:srgbClr val="FFFF00"/>
                </a:highlight>
              </a:rPr>
              <a:t>double!</a:t>
            </a:r>
            <a:r>
              <a:rPr lang="en-US" sz="1200" dirty="0"/>
              <a:t> the time needed to finish your editing!!! </a:t>
            </a:r>
          </a:p>
          <a:p>
            <a:pPr marL="285750" indent="-285750">
              <a:buFont typeface="Arial" panose="020B0604020202020204" pitchFamily="34" charset="0"/>
              <a:buChar char="•"/>
            </a:pPr>
            <a:r>
              <a:rPr lang="en-US" sz="1200" dirty="0"/>
              <a:t>Less IS more – don’t make unnecessary cuts!!!</a:t>
            </a:r>
          </a:p>
          <a:p>
            <a:pPr marL="285750" indent="-285750">
              <a:buFont typeface="Arial" panose="020B0604020202020204" pitchFamily="34" charset="0"/>
              <a:buChar char="•"/>
            </a:pPr>
            <a:r>
              <a:rPr lang="en-US" sz="1200" dirty="0"/>
              <a:t>When watching your editing again and again to make sure your flow is right, your rhythm is right and your cuts don’t “jump”, never watch only the specific spot you’re working on. The editor is patient and watches big chunks of the material again and again and again and again… and again…</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endParaRPr lang="en-US" sz="1200" dirty="0"/>
          </a:p>
        </p:txBody>
      </p:sp>
    </p:spTree>
    <p:extLst>
      <p:ext uri="{BB962C8B-B14F-4D97-AF65-F5344CB8AC3E}">
        <p14:creationId xmlns:p14="http://schemas.microsoft.com/office/powerpoint/2010/main" val="27116181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801"/>
        <p:cNvGrpSpPr/>
        <p:nvPr/>
      </p:nvGrpSpPr>
      <p:grpSpPr>
        <a:xfrm>
          <a:off x="0" y="0"/>
          <a:ext cx="0" cy="0"/>
          <a:chOff x="0" y="0"/>
          <a:chExt cx="0" cy="0"/>
        </a:xfrm>
      </p:grpSpPr>
      <p:sp>
        <p:nvSpPr>
          <p:cNvPr id="8" name="Google Shape;841;p43">
            <a:extLst>
              <a:ext uri="{FF2B5EF4-FFF2-40B4-BE49-F238E27FC236}">
                <a16:creationId xmlns:a16="http://schemas.microsoft.com/office/drawing/2014/main" id="{B637F285-AD99-4BDB-BA76-332D6B9FBAAF}"/>
              </a:ext>
            </a:extLst>
          </p:cNvPr>
          <p:cNvSpPr txBox="1">
            <a:spLocks/>
          </p:cNvSpPr>
          <p:nvPr/>
        </p:nvSpPr>
        <p:spPr>
          <a:xfrm>
            <a:off x="209964" y="201706"/>
            <a:ext cx="8724071" cy="688876"/>
          </a:xfrm>
          <a:prstGeom prst="rect">
            <a:avLst/>
          </a:prstGeom>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800" dirty="0">
                <a:solidFill>
                  <a:schemeClr val="lt1"/>
                </a:solidFill>
                <a:latin typeface="Archivo Black"/>
                <a:sym typeface="Archivo Black"/>
              </a:rPr>
              <a:t>Fun YouTube channels that can make you a better storyteller, director and editor without annoying or lecturing you.</a:t>
            </a:r>
          </a:p>
        </p:txBody>
      </p:sp>
      <p:sp>
        <p:nvSpPr>
          <p:cNvPr id="11" name="TextBox 10">
            <a:extLst>
              <a:ext uri="{FF2B5EF4-FFF2-40B4-BE49-F238E27FC236}">
                <a16:creationId xmlns:a16="http://schemas.microsoft.com/office/drawing/2014/main" id="{0029E5BB-7B3F-4010-91B7-7655940822B2}"/>
              </a:ext>
            </a:extLst>
          </p:cNvPr>
          <p:cNvSpPr txBox="1"/>
          <p:nvPr/>
        </p:nvSpPr>
        <p:spPr>
          <a:xfrm>
            <a:off x="209964" y="1241245"/>
            <a:ext cx="4572000" cy="2677656"/>
          </a:xfrm>
          <a:prstGeom prst="rect">
            <a:avLst/>
          </a:prstGeom>
          <a:noFill/>
        </p:spPr>
        <p:txBody>
          <a:bodyPr wrap="square">
            <a:spAutoFit/>
          </a:bodyPr>
          <a:lstStyle/>
          <a:p>
            <a:r>
              <a:rPr lang="en-US" dirty="0">
                <a:solidFill>
                  <a:srgbClr val="EAE5C4"/>
                </a:solidFill>
                <a:hlinkClick r:id="rId5"/>
              </a:rPr>
              <a:t>https://www.youtube.com/user/CinemaSins</a:t>
            </a:r>
            <a:endParaRPr lang="en-US" dirty="0">
              <a:solidFill>
                <a:srgbClr val="EAE5C4"/>
              </a:solidFill>
            </a:endParaRPr>
          </a:p>
          <a:p>
            <a:endParaRPr lang="en-US" dirty="0">
              <a:solidFill>
                <a:srgbClr val="EAE5C4"/>
              </a:solidFill>
            </a:endParaRPr>
          </a:p>
          <a:p>
            <a:r>
              <a:rPr lang="en-US" dirty="0">
                <a:solidFill>
                  <a:srgbClr val="EAE5C4"/>
                </a:solidFill>
                <a:hlinkClick r:id="rId6"/>
              </a:rPr>
              <a:t>https://www.youtube.com/channel/UCL8h3ri2WN_-IbviBlWtUcQ</a:t>
            </a:r>
            <a:endParaRPr lang="en-US" dirty="0">
              <a:solidFill>
                <a:srgbClr val="EAE5C4"/>
              </a:solidFill>
            </a:endParaRPr>
          </a:p>
          <a:p>
            <a:endParaRPr lang="en-US" dirty="0">
              <a:solidFill>
                <a:srgbClr val="EAE5C4"/>
              </a:solidFill>
            </a:endParaRPr>
          </a:p>
          <a:p>
            <a:r>
              <a:rPr lang="en-US" dirty="0">
                <a:solidFill>
                  <a:srgbClr val="EAE5C4"/>
                </a:solidFill>
                <a:hlinkClick r:id="rId7"/>
              </a:rPr>
              <a:t>https://www.youtube.com/channel/UCVjsbqKtxkLt7bal4NWRjJQ</a:t>
            </a:r>
            <a:endParaRPr lang="en-US" dirty="0">
              <a:solidFill>
                <a:srgbClr val="EAE5C4"/>
              </a:solidFill>
            </a:endParaRPr>
          </a:p>
          <a:p>
            <a:endParaRPr lang="en-US" dirty="0">
              <a:solidFill>
                <a:srgbClr val="EAE5C4"/>
              </a:solidFill>
            </a:endParaRPr>
          </a:p>
          <a:p>
            <a:r>
              <a:rPr lang="en-US" dirty="0">
                <a:solidFill>
                  <a:srgbClr val="EAE5C4"/>
                </a:solidFill>
                <a:hlinkClick r:id="rId8"/>
              </a:rPr>
              <a:t>https://www.youtube.com/channel/UCCYX4s1DCn51Hpf1peHS30Q</a:t>
            </a:r>
            <a:endParaRPr lang="en-US" dirty="0">
              <a:solidFill>
                <a:srgbClr val="EAE5C4"/>
              </a:solidFill>
            </a:endParaRPr>
          </a:p>
          <a:p>
            <a:endParaRPr lang="en-US" dirty="0">
              <a:solidFill>
                <a:srgbClr val="EAE5C4"/>
              </a:solidFill>
            </a:endParaRPr>
          </a:p>
          <a:p>
            <a:endParaRPr lang="en-US" dirty="0">
              <a:solidFill>
                <a:srgbClr val="EAE5C4"/>
              </a:solidFill>
            </a:endParaRPr>
          </a:p>
        </p:txBody>
      </p:sp>
      <p:pic>
        <p:nvPicPr>
          <p:cNvPr id="3" name="Online Media 2" title="Everything GREAT About Baby Driver!">
            <a:hlinkClick r:id="" action="ppaction://media"/>
            <a:extLst>
              <a:ext uri="{FF2B5EF4-FFF2-40B4-BE49-F238E27FC236}">
                <a16:creationId xmlns:a16="http://schemas.microsoft.com/office/drawing/2014/main" id="{F682CAB5-7FAB-461C-B0A2-12DAD3F801B0}"/>
              </a:ext>
            </a:extLst>
          </p:cNvPr>
          <p:cNvPicPr>
            <a:picLocks noRot="1" noChangeAspect="1"/>
          </p:cNvPicPr>
          <p:nvPr>
            <a:videoFile r:link="rId1"/>
            <p:custDataLst>
              <p:tags r:id="rId2"/>
            </p:custDataLst>
          </p:nvPr>
        </p:nvPicPr>
        <p:blipFill>
          <a:blip r:embed="rId9"/>
          <a:stretch>
            <a:fillRect/>
          </a:stretch>
        </p:blipFill>
        <p:spPr>
          <a:xfrm>
            <a:off x="5083735" y="1241245"/>
            <a:ext cx="3608359" cy="2038723"/>
          </a:xfrm>
          <a:prstGeom prst="rect">
            <a:avLst/>
          </a:prstGeom>
        </p:spPr>
      </p:pic>
    </p:spTree>
    <p:extLst>
      <p:ext uri="{BB962C8B-B14F-4D97-AF65-F5344CB8AC3E}">
        <p14:creationId xmlns:p14="http://schemas.microsoft.com/office/powerpoint/2010/main" val="798454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121"/>
        <p:cNvGrpSpPr/>
        <p:nvPr/>
      </p:nvGrpSpPr>
      <p:grpSpPr>
        <a:xfrm>
          <a:off x="0" y="0"/>
          <a:ext cx="0" cy="0"/>
          <a:chOff x="0" y="0"/>
          <a:chExt cx="0" cy="0"/>
        </a:xfrm>
      </p:grpSpPr>
      <p:sp>
        <p:nvSpPr>
          <p:cNvPr id="1122" name="Google Shape;1122;p52"/>
          <p:cNvSpPr txBox="1">
            <a:spLocks noGrp="1"/>
          </p:cNvSpPr>
          <p:nvPr>
            <p:ph type="subTitle" idx="1"/>
          </p:nvPr>
        </p:nvSpPr>
        <p:spPr>
          <a:xfrm>
            <a:off x="794175" y="2288700"/>
            <a:ext cx="2242800" cy="4023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ORGANIZATION</a:t>
            </a:r>
            <a:endParaRPr dirty="0"/>
          </a:p>
        </p:txBody>
      </p:sp>
      <p:sp>
        <p:nvSpPr>
          <p:cNvPr id="1123" name="Google Shape;1123;p52"/>
          <p:cNvSpPr txBox="1">
            <a:spLocks noGrp="1"/>
          </p:cNvSpPr>
          <p:nvPr>
            <p:ph type="title"/>
          </p:nvPr>
        </p:nvSpPr>
        <p:spPr>
          <a:xfrm>
            <a:off x="713100" y="381200"/>
            <a:ext cx="6271500" cy="932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T</a:t>
            </a:r>
            <a:r>
              <a:rPr lang="en" dirty="0"/>
              <a:t>HE EDITOR…</a:t>
            </a:r>
            <a:endParaRPr dirty="0"/>
          </a:p>
        </p:txBody>
      </p:sp>
      <p:sp>
        <p:nvSpPr>
          <p:cNvPr id="1124" name="Google Shape;1124;p52"/>
          <p:cNvSpPr txBox="1">
            <a:spLocks noGrp="1"/>
          </p:cNvSpPr>
          <p:nvPr>
            <p:ph type="subTitle" idx="2"/>
          </p:nvPr>
        </p:nvSpPr>
        <p:spPr>
          <a:xfrm>
            <a:off x="794175" y="2617125"/>
            <a:ext cx="2242800" cy="6552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Obsessive organization skills – everything labeled</a:t>
            </a:r>
            <a:endParaRPr dirty="0"/>
          </a:p>
        </p:txBody>
      </p:sp>
      <p:sp>
        <p:nvSpPr>
          <p:cNvPr id="1125" name="Google Shape;1125;p52"/>
          <p:cNvSpPr txBox="1">
            <a:spLocks noGrp="1"/>
          </p:cNvSpPr>
          <p:nvPr>
            <p:ph type="subTitle" idx="3"/>
          </p:nvPr>
        </p:nvSpPr>
        <p:spPr>
          <a:xfrm>
            <a:off x="3450675" y="2288700"/>
            <a:ext cx="2242800" cy="4023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MEMORY</a:t>
            </a:r>
            <a:endParaRPr dirty="0"/>
          </a:p>
        </p:txBody>
      </p:sp>
      <p:sp>
        <p:nvSpPr>
          <p:cNvPr id="1126" name="Google Shape;1126;p52"/>
          <p:cNvSpPr txBox="1">
            <a:spLocks noGrp="1"/>
          </p:cNvSpPr>
          <p:nvPr>
            <p:ph type="subTitle" idx="4"/>
          </p:nvPr>
        </p:nvSpPr>
        <p:spPr>
          <a:xfrm>
            <a:off x="3450675" y="2617125"/>
            <a:ext cx="2656352" cy="6552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Images, sounds, </a:t>
            </a:r>
          </a:p>
          <a:p>
            <a:pPr marL="0" lvl="0" indent="0" algn="l" rtl="0">
              <a:spcBef>
                <a:spcPts val="0"/>
              </a:spcBef>
              <a:spcAft>
                <a:spcPts val="0"/>
              </a:spcAft>
              <a:buNone/>
            </a:pPr>
            <a:r>
              <a:rPr lang="en" dirty="0"/>
              <a:t>connections etc. </a:t>
            </a:r>
          </a:p>
          <a:p>
            <a:pPr marL="0" lvl="0" indent="0" algn="l" rtl="0">
              <a:spcBef>
                <a:spcPts val="0"/>
              </a:spcBef>
              <a:spcAft>
                <a:spcPts val="0"/>
              </a:spcAft>
              <a:buNone/>
            </a:pPr>
            <a:r>
              <a:rPr lang="en" dirty="0"/>
              <a:t>REGISTERED - single viewing</a:t>
            </a:r>
            <a:endParaRPr dirty="0"/>
          </a:p>
        </p:txBody>
      </p:sp>
      <p:sp>
        <p:nvSpPr>
          <p:cNvPr id="1127" name="Google Shape;1127;p52"/>
          <p:cNvSpPr txBox="1">
            <a:spLocks noGrp="1"/>
          </p:cNvSpPr>
          <p:nvPr>
            <p:ph type="subTitle" idx="5"/>
          </p:nvPr>
        </p:nvSpPr>
        <p:spPr>
          <a:xfrm>
            <a:off x="6033655" y="2288700"/>
            <a:ext cx="2316320" cy="4023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PERFECTIONISM</a:t>
            </a:r>
            <a:endParaRPr dirty="0"/>
          </a:p>
        </p:txBody>
      </p:sp>
      <p:sp>
        <p:nvSpPr>
          <p:cNvPr id="1128" name="Google Shape;1128;p52"/>
          <p:cNvSpPr txBox="1">
            <a:spLocks noGrp="1"/>
          </p:cNvSpPr>
          <p:nvPr>
            <p:ph type="subTitle" idx="6"/>
          </p:nvPr>
        </p:nvSpPr>
        <p:spPr>
          <a:xfrm>
            <a:off x="6107175" y="2617125"/>
            <a:ext cx="2242800" cy="6552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Exteme attention to detail</a:t>
            </a:r>
          </a:p>
          <a:p>
            <a:pPr marL="0" lvl="0" indent="0" algn="l" rtl="0">
              <a:spcBef>
                <a:spcPts val="0"/>
              </a:spcBef>
              <a:spcAft>
                <a:spcPts val="0"/>
              </a:spcAft>
              <a:buNone/>
            </a:pPr>
            <a:r>
              <a:rPr lang="en" dirty="0"/>
              <a:t>Extreme observation skills – they miss nothing</a:t>
            </a:r>
            <a:endParaRPr dirty="0"/>
          </a:p>
        </p:txBody>
      </p:sp>
      <p:sp>
        <p:nvSpPr>
          <p:cNvPr id="1129" name="Google Shape;1129;p52"/>
          <p:cNvSpPr txBox="1">
            <a:spLocks noGrp="1"/>
          </p:cNvSpPr>
          <p:nvPr>
            <p:ph type="subTitle" idx="7"/>
          </p:nvPr>
        </p:nvSpPr>
        <p:spPr>
          <a:xfrm>
            <a:off x="794175" y="3479953"/>
            <a:ext cx="2413302" cy="4023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EMPO / RHYTHM</a:t>
            </a:r>
            <a:endParaRPr dirty="0"/>
          </a:p>
        </p:txBody>
      </p:sp>
      <p:sp>
        <p:nvSpPr>
          <p:cNvPr id="1130" name="Google Shape;1130;p52"/>
          <p:cNvSpPr txBox="1">
            <a:spLocks noGrp="1"/>
          </p:cNvSpPr>
          <p:nvPr>
            <p:ph type="subTitle" idx="8"/>
          </p:nvPr>
        </p:nvSpPr>
        <p:spPr>
          <a:xfrm>
            <a:off x="794175" y="3807217"/>
            <a:ext cx="2242800" cy="6552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I</a:t>
            </a:r>
            <a:r>
              <a:rPr lang="en" dirty="0"/>
              <a:t>nnate sense of r</a:t>
            </a:r>
            <a:r>
              <a:rPr lang="en-US" dirty="0"/>
              <a:t>h</a:t>
            </a:r>
            <a:r>
              <a:rPr lang="en" dirty="0"/>
              <a:t>ythm, bpm and </a:t>
            </a:r>
            <a:r>
              <a:rPr lang="en-US" dirty="0"/>
              <a:t>ability to pitch!!!</a:t>
            </a:r>
            <a:endParaRPr dirty="0"/>
          </a:p>
        </p:txBody>
      </p:sp>
      <p:sp>
        <p:nvSpPr>
          <p:cNvPr id="1131" name="Google Shape;1131;p52"/>
          <p:cNvSpPr txBox="1">
            <a:spLocks noGrp="1"/>
          </p:cNvSpPr>
          <p:nvPr>
            <p:ph type="subTitle" idx="9"/>
          </p:nvPr>
        </p:nvSpPr>
        <p:spPr>
          <a:xfrm>
            <a:off x="3450675" y="3479953"/>
            <a:ext cx="2485998" cy="4023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EXTREMELY FAST</a:t>
            </a:r>
            <a:endParaRPr dirty="0"/>
          </a:p>
        </p:txBody>
      </p:sp>
      <p:sp>
        <p:nvSpPr>
          <p:cNvPr id="1132" name="Google Shape;1132;p52"/>
          <p:cNvSpPr txBox="1">
            <a:spLocks noGrp="1"/>
          </p:cNvSpPr>
          <p:nvPr>
            <p:ph type="subTitle" idx="13"/>
          </p:nvPr>
        </p:nvSpPr>
        <p:spPr>
          <a:xfrm>
            <a:off x="3450675" y="3807200"/>
            <a:ext cx="2242800" cy="6552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S</a:t>
            </a:r>
            <a:r>
              <a:rPr lang="en" dirty="0"/>
              <a:t>avvy with shortcuts!!! TOUCH TYPING!!! </a:t>
            </a:r>
          </a:p>
        </p:txBody>
      </p:sp>
      <p:sp>
        <p:nvSpPr>
          <p:cNvPr id="1133" name="Google Shape;1133;p52"/>
          <p:cNvSpPr txBox="1">
            <a:spLocks noGrp="1"/>
          </p:cNvSpPr>
          <p:nvPr>
            <p:ph type="subTitle" idx="14"/>
          </p:nvPr>
        </p:nvSpPr>
        <p:spPr>
          <a:xfrm>
            <a:off x="6107175" y="3479953"/>
            <a:ext cx="2242800" cy="4023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ECISIVE </a:t>
            </a:r>
            <a:endParaRPr dirty="0"/>
          </a:p>
        </p:txBody>
      </p:sp>
      <p:sp>
        <p:nvSpPr>
          <p:cNvPr id="1134" name="Google Shape;1134;p52"/>
          <p:cNvSpPr txBox="1">
            <a:spLocks noGrp="1"/>
          </p:cNvSpPr>
          <p:nvPr>
            <p:ph type="subTitle" idx="15"/>
          </p:nvPr>
        </p:nvSpPr>
        <p:spPr>
          <a:xfrm>
            <a:off x="6107175" y="3807200"/>
            <a:ext cx="2242800" cy="6552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Snappy decisions!!</a:t>
            </a:r>
          </a:p>
          <a:p>
            <a:pPr marL="0" lvl="0" indent="0" algn="l" rtl="0">
              <a:spcBef>
                <a:spcPts val="0"/>
              </a:spcBef>
              <a:spcAft>
                <a:spcPts val="0"/>
              </a:spcAft>
              <a:buNone/>
            </a:pPr>
            <a:r>
              <a:rPr lang="en" dirty="0"/>
              <a:t>HOURLY RATES……..</a:t>
            </a:r>
            <a:endParaRPr dirty="0"/>
          </a:p>
        </p:txBody>
      </p:sp>
      <p:pic>
        <p:nvPicPr>
          <p:cNvPr id="2" name="Online Media 1" title="Edit Faster with 20 Keyboard Shortcuts for Premiere Pro">
            <a:hlinkClick r:id="" action="ppaction://media"/>
            <a:extLst>
              <a:ext uri="{FF2B5EF4-FFF2-40B4-BE49-F238E27FC236}">
                <a16:creationId xmlns:a16="http://schemas.microsoft.com/office/drawing/2014/main" id="{A3FCEB0B-1DB9-41C3-A7D9-E24297E4D878}"/>
              </a:ext>
            </a:extLst>
          </p:cNvPr>
          <p:cNvPicPr>
            <a:picLocks noRot="1" noChangeAspect="1"/>
          </p:cNvPicPr>
          <p:nvPr>
            <a:videoFile r:link="rId1"/>
            <p:custDataLst>
              <p:tags r:id="rId2"/>
            </p:custDataLst>
          </p:nvPr>
        </p:nvPicPr>
        <p:blipFill>
          <a:blip r:embed="rId5"/>
          <a:stretch>
            <a:fillRect/>
          </a:stretch>
        </p:blipFill>
        <p:spPr>
          <a:xfrm>
            <a:off x="5276273" y="353840"/>
            <a:ext cx="2897909" cy="1637319"/>
          </a:xfrm>
          <a:prstGeom prst="rect">
            <a:avLst/>
          </a:prstGeom>
        </p:spPr>
      </p:pic>
      <p:sp>
        <p:nvSpPr>
          <p:cNvPr id="16" name="Google Shape;1126;p52">
            <a:extLst>
              <a:ext uri="{FF2B5EF4-FFF2-40B4-BE49-F238E27FC236}">
                <a16:creationId xmlns:a16="http://schemas.microsoft.com/office/drawing/2014/main" id="{0A651448-5298-4D97-89EF-41633A93A06F}"/>
              </a:ext>
            </a:extLst>
          </p:cNvPr>
          <p:cNvSpPr txBox="1">
            <a:spLocks/>
          </p:cNvSpPr>
          <p:nvPr/>
        </p:nvSpPr>
        <p:spPr>
          <a:xfrm>
            <a:off x="713101" y="4569834"/>
            <a:ext cx="7991878" cy="6552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lt1"/>
              </a:buClr>
              <a:buSzPts val="1800"/>
              <a:buFont typeface="Roboto"/>
              <a:buNone/>
              <a:defRPr sz="1400" b="0" i="0" u="none" strike="noStrike" cap="none">
                <a:solidFill>
                  <a:schemeClr val="lt1"/>
                </a:solidFill>
                <a:latin typeface="Roboto"/>
                <a:ea typeface="Roboto"/>
                <a:cs typeface="Roboto"/>
                <a:sym typeface="Roboto"/>
              </a:defRPr>
            </a:lvl1pPr>
            <a:lvl2pPr marL="914400" marR="0" lvl="1"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2pPr>
            <a:lvl3pPr marL="1371600" marR="0" lvl="2"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3pPr>
            <a:lvl4pPr marL="1828800" marR="0" lvl="3"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4pPr>
            <a:lvl5pPr marL="2286000" marR="0" lvl="4"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5pPr>
            <a:lvl6pPr marL="2743200" marR="0" lvl="5"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6pPr>
            <a:lvl7pPr marL="3200400" marR="0" lvl="6"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7pPr>
            <a:lvl8pPr marL="3657600" marR="0" lvl="7"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8pPr>
            <a:lvl9pPr marL="4114800" marR="0" lvl="8" indent="-317500" algn="l" rtl="0">
              <a:lnSpc>
                <a:spcPct val="100000"/>
              </a:lnSpc>
              <a:spcBef>
                <a:spcPts val="1200"/>
              </a:spcBef>
              <a:spcAft>
                <a:spcPts val="1200"/>
              </a:spcAft>
              <a:buClr>
                <a:schemeClr val="lt1"/>
              </a:buClr>
              <a:buSzPts val="1400"/>
              <a:buFont typeface="Roboto"/>
              <a:buNone/>
              <a:defRPr sz="1400" b="1" i="0" u="none" strike="noStrike" cap="none">
                <a:solidFill>
                  <a:schemeClr val="lt1"/>
                </a:solidFill>
                <a:latin typeface="Roboto"/>
                <a:ea typeface="Roboto"/>
                <a:cs typeface="Roboto"/>
                <a:sym typeface="Roboto"/>
              </a:defRPr>
            </a:lvl9pPr>
          </a:lstStyle>
          <a:p>
            <a:pPr marL="0" indent="0"/>
            <a:r>
              <a:rPr lang="en-US" dirty="0"/>
              <a:t>AND </a:t>
            </a:r>
            <a:r>
              <a:rPr lang="en-US" dirty="0">
                <a:solidFill>
                  <a:srgbClr val="0070C0"/>
                </a:solidFill>
                <a:hlinkClick r:id="rId6">
                  <a:extLst>
                    <a:ext uri="{A12FA001-AC4F-418D-AE19-62706E023703}">
                      <ahyp:hlinkClr xmlns:ahyp="http://schemas.microsoft.com/office/drawing/2018/hyperlinkcolor" val="tx"/>
                    </a:ext>
                  </a:extLst>
                </a:hlinkClick>
              </a:rPr>
              <a:t>THIS</a:t>
            </a:r>
            <a:r>
              <a:rPr lang="en-US" dirty="0"/>
              <a:t> IMAGE OF KEYBOARD SHORTCUTS FOR PREMIERE – CHECK YOUR VERSION BUT MOST DEFAULTS NEVER CHANGE EVEN AMONG DIFFERENT PROGRAMS</a:t>
            </a:r>
          </a:p>
        </p:txBody>
      </p:sp>
      <p:sp>
        <p:nvSpPr>
          <p:cNvPr id="17" name="Google Shape;1126;p52">
            <a:extLst>
              <a:ext uri="{FF2B5EF4-FFF2-40B4-BE49-F238E27FC236}">
                <a16:creationId xmlns:a16="http://schemas.microsoft.com/office/drawing/2014/main" id="{90077751-9360-4127-A597-4A86C55D5BC9}"/>
              </a:ext>
            </a:extLst>
          </p:cNvPr>
          <p:cNvSpPr txBox="1">
            <a:spLocks/>
          </p:cNvSpPr>
          <p:nvPr/>
        </p:nvSpPr>
        <p:spPr>
          <a:xfrm>
            <a:off x="713100" y="905796"/>
            <a:ext cx="4484187" cy="125630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lt1"/>
              </a:buClr>
              <a:buSzPts val="1800"/>
              <a:buFont typeface="Roboto"/>
              <a:buNone/>
              <a:defRPr sz="1400" b="0" i="0" u="none" strike="noStrike" cap="none">
                <a:solidFill>
                  <a:schemeClr val="lt1"/>
                </a:solidFill>
                <a:latin typeface="Roboto"/>
                <a:ea typeface="Roboto"/>
                <a:cs typeface="Roboto"/>
                <a:sym typeface="Roboto"/>
              </a:defRPr>
            </a:lvl1pPr>
            <a:lvl2pPr marL="914400" marR="0" lvl="1"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2pPr>
            <a:lvl3pPr marL="1371600" marR="0" lvl="2"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3pPr>
            <a:lvl4pPr marL="1828800" marR="0" lvl="3"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4pPr>
            <a:lvl5pPr marL="2286000" marR="0" lvl="4"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5pPr>
            <a:lvl6pPr marL="2743200" marR="0" lvl="5"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6pPr>
            <a:lvl7pPr marL="3200400" marR="0" lvl="6"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7pPr>
            <a:lvl8pPr marL="3657600" marR="0" lvl="7"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8pPr>
            <a:lvl9pPr marL="4114800" marR="0" lvl="8" indent="-317500" algn="l" rtl="0">
              <a:lnSpc>
                <a:spcPct val="100000"/>
              </a:lnSpc>
              <a:spcBef>
                <a:spcPts val="1200"/>
              </a:spcBef>
              <a:spcAft>
                <a:spcPts val="1200"/>
              </a:spcAft>
              <a:buClr>
                <a:schemeClr val="lt1"/>
              </a:buClr>
              <a:buSzPts val="1400"/>
              <a:buFont typeface="Roboto"/>
              <a:buNone/>
              <a:defRPr sz="1400" b="1" i="0" u="none" strike="noStrike" cap="none">
                <a:solidFill>
                  <a:schemeClr val="lt1"/>
                </a:solidFill>
                <a:latin typeface="Roboto"/>
                <a:ea typeface="Roboto"/>
                <a:cs typeface="Roboto"/>
                <a:sym typeface="Roboto"/>
              </a:defRPr>
            </a:lvl9pPr>
          </a:lstStyle>
          <a:p>
            <a:pPr marL="0" indent="0"/>
            <a:r>
              <a:rPr lang="en-US" sz="1200" dirty="0"/>
              <a:t>If you’re thinking about becoming a professional editor, do NOT train yourself on programs like Premiere. Learn AVID Media Composer. You can edit with any program, but AVID is more than mere buttons. Its user interface + shortcuts understand the editing process better than ANY other commercial program! </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27"/>
        <p:cNvGrpSpPr/>
        <p:nvPr/>
      </p:nvGrpSpPr>
      <p:grpSpPr>
        <a:xfrm>
          <a:off x="0" y="0"/>
          <a:ext cx="0" cy="0"/>
          <a:chOff x="0" y="0"/>
          <a:chExt cx="0" cy="0"/>
        </a:xfrm>
      </p:grpSpPr>
      <p:sp>
        <p:nvSpPr>
          <p:cNvPr id="732" name="Google Shape;732;p38"/>
          <p:cNvSpPr txBox="1">
            <a:spLocks noGrp="1"/>
          </p:cNvSpPr>
          <p:nvPr>
            <p:ph type="title"/>
          </p:nvPr>
        </p:nvSpPr>
        <p:spPr>
          <a:xfrm>
            <a:off x="1322903" y="512584"/>
            <a:ext cx="2962500" cy="563181"/>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FRAME RATE</a:t>
            </a:r>
            <a:br>
              <a:rPr lang="en" dirty="0"/>
            </a:br>
            <a:endParaRPr dirty="0"/>
          </a:p>
        </p:txBody>
      </p:sp>
      <p:grpSp>
        <p:nvGrpSpPr>
          <p:cNvPr id="733" name="Google Shape;733;p38"/>
          <p:cNvGrpSpPr/>
          <p:nvPr/>
        </p:nvGrpSpPr>
        <p:grpSpPr>
          <a:xfrm rot="-2700000">
            <a:off x="8133415" y="4288207"/>
            <a:ext cx="880780" cy="477899"/>
            <a:chOff x="1443025" y="1086275"/>
            <a:chExt cx="2111000" cy="1145400"/>
          </a:xfrm>
        </p:grpSpPr>
        <p:sp>
          <p:nvSpPr>
            <p:cNvPr id="734" name="Google Shape;734;p38"/>
            <p:cNvSpPr/>
            <p:nvPr/>
          </p:nvSpPr>
          <p:spPr>
            <a:xfrm>
              <a:off x="1443025" y="1086275"/>
              <a:ext cx="2111000" cy="229225"/>
            </a:xfrm>
            <a:custGeom>
              <a:avLst/>
              <a:gdLst/>
              <a:ahLst/>
              <a:cxnLst/>
              <a:rect l="l" t="t" r="r" b="b"/>
              <a:pathLst>
                <a:path w="84440" h="9169" extrusionOk="0">
                  <a:moveTo>
                    <a:pt x="84416" y="1679"/>
                  </a:moveTo>
                  <a:lnTo>
                    <a:pt x="84190" y="8883"/>
                  </a:lnTo>
                  <a:lnTo>
                    <a:pt x="274" y="9168"/>
                  </a:lnTo>
                  <a:lnTo>
                    <a:pt x="24" y="1703"/>
                  </a:lnTo>
                  <a:cubicBezTo>
                    <a:pt x="1" y="774"/>
                    <a:pt x="739" y="12"/>
                    <a:pt x="1667" y="12"/>
                  </a:cubicBezTo>
                  <a:lnTo>
                    <a:pt x="82785" y="12"/>
                  </a:lnTo>
                  <a:cubicBezTo>
                    <a:pt x="83701" y="1"/>
                    <a:pt x="84440" y="763"/>
                    <a:pt x="84416" y="1679"/>
                  </a:cubicBez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735;p38"/>
            <p:cNvSpPr/>
            <p:nvPr/>
          </p:nvSpPr>
          <p:spPr>
            <a:xfrm>
              <a:off x="1450175" y="1200575"/>
              <a:ext cx="2097600" cy="1031100"/>
            </a:xfrm>
            <a:custGeom>
              <a:avLst/>
              <a:gdLst/>
              <a:ahLst/>
              <a:cxnLst/>
              <a:rect l="l" t="t" r="r" b="b"/>
              <a:pathLst>
                <a:path w="83904" h="41244" extrusionOk="0">
                  <a:moveTo>
                    <a:pt x="82070" y="5418"/>
                  </a:moveTo>
                  <a:lnTo>
                    <a:pt x="82106" y="5418"/>
                  </a:lnTo>
                  <a:lnTo>
                    <a:pt x="82427" y="893"/>
                  </a:lnTo>
                  <a:cubicBezTo>
                    <a:pt x="82463" y="417"/>
                    <a:pt x="82082" y="1"/>
                    <a:pt x="81606" y="1"/>
                  </a:cubicBezTo>
                  <a:lnTo>
                    <a:pt x="2155" y="1"/>
                  </a:lnTo>
                  <a:cubicBezTo>
                    <a:pt x="1655" y="1"/>
                    <a:pt x="1286" y="417"/>
                    <a:pt x="1334" y="893"/>
                  </a:cubicBezTo>
                  <a:lnTo>
                    <a:pt x="1691" y="5025"/>
                  </a:lnTo>
                  <a:lnTo>
                    <a:pt x="0" y="5013"/>
                  </a:lnTo>
                  <a:lnTo>
                    <a:pt x="1072" y="37196"/>
                  </a:lnTo>
                  <a:cubicBezTo>
                    <a:pt x="1155" y="39303"/>
                    <a:pt x="2882" y="41006"/>
                    <a:pt x="5001" y="41006"/>
                  </a:cubicBezTo>
                  <a:lnTo>
                    <a:pt x="79070" y="41220"/>
                  </a:lnTo>
                  <a:cubicBezTo>
                    <a:pt x="81213" y="41244"/>
                    <a:pt x="82963" y="39529"/>
                    <a:pt x="83023" y="37386"/>
                  </a:cubicBezTo>
                  <a:lnTo>
                    <a:pt x="83904" y="5406"/>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736;p38"/>
            <p:cNvSpPr/>
            <p:nvPr/>
          </p:nvSpPr>
          <p:spPr>
            <a:xfrm>
              <a:off x="1471900" y="1218725"/>
              <a:ext cx="2053850" cy="995400"/>
            </a:xfrm>
            <a:custGeom>
              <a:avLst/>
              <a:gdLst/>
              <a:ahLst/>
              <a:cxnLst/>
              <a:rect l="l" t="t" r="r" b="b"/>
              <a:pathLst>
                <a:path w="82154" h="39816" extrusionOk="0">
                  <a:moveTo>
                    <a:pt x="4382" y="39601"/>
                  </a:moveTo>
                  <a:cubicBezTo>
                    <a:pt x="2560" y="39601"/>
                    <a:pt x="1108" y="38172"/>
                    <a:pt x="1048" y="36374"/>
                  </a:cubicBezTo>
                  <a:lnTo>
                    <a:pt x="0" y="4989"/>
                  </a:lnTo>
                  <a:lnTo>
                    <a:pt x="1715" y="5001"/>
                  </a:lnTo>
                  <a:lnTo>
                    <a:pt x="1298" y="275"/>
                  </a:lnTo>
                  <a:cubicBezTo>
                    <a:pt x="1286" y="179"/>
                    <a:pt x="1322" y="108"/>
                    <a:pt x="1358" y="72"/>
                  </a:cubicBezTo>
                  <a:cubicBezTo>
                    <a:pt x="1382" y="48"/>
                    <a:pt x="1441" y="1"/>
                    <a:pt x="1536" y="1"/>
                  </a:cubicBezTo>
                  <a:lnTo>
                    <a:pt x="80475" y="1"/>
                  </a:lnTo>
                  <a:cubicBezTo>
                    <a:pt x="80558" y="1"/>
                    <a:pt x="80618" y="48"/>
                    <a:pt x="80653" y="72"/>
                  </a:cubicBezTo>
                  <a:cubicBezTo>
                    <a:pt x="80677" y="108"/>
                    <a:pt x="80725" y="167"/>
                    <a:pt x="80713" y="275"/>
                  </a:cubicBezTo>
                  <a:lnTo>
                    <a:pt x="80403" y="5370"/>
                  </a:lnTo>
                  <a:lnTo>
                    <a:pt x="82154" y="5394"/>
                  </a:lnTo>
                  <a:lnTo>
                    <a:pt x="81320" y="36565"/>
                  </a:lnTo>
                  <a:cubicBezTo>
                    <a:pt x="81272" y="38398"/>
                    <a:pt x="79808" y="39815"/>
                    <a:pt x="77986" y="39815"/>
                  </a:cubicBezTo>
                  <a:cubicBezTo>
                    <a:pt x="77974" y="39815"/>
                    <a:pt x="4382" y="39601"/>
                    <a:pt x="4382" y="39601"/>
                  </a:cubicBezTo>
                  <a:close/>
                </a:path>
              </a:pathLst>
            </a:custGeom>
            <a:solidFill>
              <a:srgbClr val="2118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 name="Google Shape;737;p38"/>
            <p:cNvSpPr/>
            <p:nvPr/>
          </p:nvSpPr>
          <p:spPr>
            <a:xfrm>
              <a:off x="1471900" y="1412200"/>
              <a:ext cx="2052650" cy="581650"/>
            </a:xfrm>
            <a:custGeom>
              <a:avLst/>
              <a:gdLst/>
              <a:ahLst/>
              <a:cxnLst/>
              <a:rect l="l" t="t" r="r" b="b"/>
              <a:pathLst>
                <a:path w="82106" h="23266" extrusionOk="0">
                  <a:moveTo>
                    <a:pt x="10704" y="23266"/>
                  </a:moveTo>
                  <a:cubicBezTo>
                    <a:pt x="9811" y="23266"/>
                    <a:pt x="774" y="22301"/>
                    <a:pt x="774" y="22301"/>
                  </a:cubicBezTo>
                  <a:lnTo>
                    <a:pt x="0" y="1251"/>
                  </a:lnTo>
                  <a:cubicBezTo>
                    <a:pt x="0" y="1251"/>
                    <a:pt x="9287" y="310"/>
                    <a:pt x="10276" y="298"/>
                  </a:cubicBezTo>
                  <a:lnTo>
                    <a:pt x="12907" y="287"/>
                  </a:lnTo>
                  <a:lnTo>
                    <a:pt x="60603" y="48"/>
                  </a:lnTo>
                  <a:lnTo>
                    <a:pt x="71236" y="1"/>
                  </a:lnTo>
                  <a:lnTo>
                    <a:pt x="82106" y="1"/>
                  </a:lnTo>
                  <a:lnTo>
                    <a:pt x="81487" y="22694"/>
                  </a:lnTo>
                  <a:cubicBezTo>
                    <a:pt x="81487" y="22694"/>
                    <a:pt x="71986" y="23254"/>
                    <a:pt x="71033" y="23254"/>
                  </a:cubicBezTo>
                  <a:lnTo>
                    <a:pt x="10704" y="23254"/>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 name="Google Shape;738;p38"/>
            <p:cNvSpPr/>
            <p:nvPr/>
          </p:nvSpPr>
          <p:spPr>
            <a:xfrm>
              <a:off x="1574000" y="1437200"/>
              <a:ext cx="1814525" cy="532550"/>
            </a:xfrm>
            <a:custGeom>
              <a:avLst/>
              <a:gdLst/>
              <a:ahLst/>
              <a:cxnLst/>
              <a:rect l="l" t="t" r="r" b="b"/>
              <a:pathLst>
                <a:path w="72581" h="21302" extrusionOk="0">
                  <a:moveTo>
                    <a:pt x="68461" y="20230"/>
                  </a:moveTo>
                  <a:cubicBezTo>
                    <a:pt x="68104" y="20896"/>
                    <a:pt x="67413" y="21301"/>
                    <a:pt x="66675" y="21301"/>
                  </a:cubicBezTo>
                  <a:lnTo>
                    <a:pt x="6882" y="21301"/>
                  </a:lnTo>
                  <a:cubicBezTo>
                    <a:pt x="6203" y="21301"/>
                    <a:pt x="5560" y="20956"/>
                    <a:pt x="5191" y="20361"/>
                  </a:cubicBezTo>
                  <a:cubicBezTo>
                    <a:pt x="3596" y="17872"/>
                    <a:pt x="0" y="10621"/>
                    <a:pt x="4668" y="1394"/>
                  </a:cubicBezTo>
                  <a:cubicBezTo>
                    <a:pt x="5013" y="727"/>
                    <a:pt x="5691" y="311"/>
                    <a:pt x="6453" y="299"/>
                  </a:cubicBezTo>
                  <a:lnTo>
                    <a:pt x="9061" y="287"/>
                  </a:lnTo>
                  <a:lnTo>
                    <a:pt x="35386" y="144"/>
                  </a:lnTo>
                  <a:lnTo>
                    <a:pt x="46673" y="84"/>
                  </a:lnTo>
                  <a:lnTo>
                    <a:pt x="46673" y="84"/>
                  </a:lnTo>
                  <a:lnTo>
                    <a:pt x="56329" y="37"/>
                  </a:lnTo>
                  <a:lnTo>
                    <a:pt x="56329" y="37"/>
                  </a:lnTo>
                  <a:lnTo>
                    <a:pt x="66854" y="1"/>
                  </a:lnTo>
                  <a:cubicBezTo>
                    <a:pt x="67663" y="1"/>
                    <a:pt x="68414" y="501"/>
                    <a:pt x="68735" y="1275"/>
                  </a:cubicBezTo>
                  <a:cubicBezTo>
                    <a:pt x="70021" y="4418"/>
                    <a:pt x="72581" y="12622"/>
                    <a:pt x="68461" y="20230"/>
                  </a:cubicBezTo>
                  <a:close/>
                </a:path>
              </a:pathLst>
            </a:custGeom>
            <a:solidFill>
              <a:srgbClr val="8A70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 name="Google Shape;739;p38"/>
            <p:cNvSpPr/>
            <p:nvPr/>
          </p:nvSpPr>
          <p:spPr>
            <a:xfrm>
              <a:off x="1703475" y="1441675"/>
              <a:ext cx="855500" cy="528075"/>
            </a:xfrm>
            <a:custGeom>
              <a:avLst/>
              <a:gdLst/>
              <a:ahLst/>
              <a:cxnLst/>
              <a:rect l="l" t="t" r="r" b="b"/>
              <a:pathLst>
                <a:path w="34220" h="21123" extrusionOk="0">
                  <a:moveTo>
                    <a:pt x="34219" y="11002"/>
                  </a:moveTo>
                  <a:cubicBezTo>
                    <a:pt x="34219" y="14776"/>
                    <a:pt x="32993" y="18289"/>
                    <a:pt x="30909" y="21122"/>
                  </a:cubicBezTo>
                  <a:lnTo>
                    <a:pt x="3310" y="21122"/>
                  </a:lnTo>
                  <a:cubicBezTo>
                    <a:pt x="1227" y="18289"/>
                    <a:pt x="0" y="14776"/>
                    <a:pt x="0" y="11002"/>
                  </a:cubicBezTo>
                  <a:cubicBezTo>
                    <a:pt x="0" y="6870"/>
                    <a:pt x="1453" y="3084"/>
                    <a:pt x="3894" y="132"/>
                  </a:cubicBezTo>
                  <a:lnTo>
                    <a:pt x="30219" y="1"/>
                  </a:lnTo>
                  <a:cubicBezTo>
                    <a:pt x="32707" y="2977"/>
                    <a:pt x="34219" y="6811"/>
                    <a:pt x="34219" y="11002"/>
                  </a:cubicBezTo>
                  <a:close/>
                </a:path>
              </a:pathLst>
            </a:custGeom>
            <a:solidFill>
              <a:srgbClr val="0C152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 name="Google Shape;740;p38"/>
            <p:cNvSpPr/>
            <p:nvPr/>
          </p:nvSpPr>
          <p:spPr>
            <a:xfrm>
              <a:off x="1931475" y="1516975"/>
              <a:ext cx="399775" cy="399475"/>
            </a:xfrm>
            <a:custGeom>
              <a:avLst/>
              <a:gdLst/>
              <a:ahLst/>
              <a:cxnLst/>
              <a:rect l="l" t="t" r="r" b="b"/>
              <a:pathLst>
                <a:path w="15991" h="15979" extrusionOk="0">
                  <a:moveTo>
                    <a:pt x="9192" y="668"/>
                  </a:moveTo>
                  <a:cubicBezTo>
                    <a:pt x="13240" y="1322"/>
                    <a:pt x="15991" y="5144"/>
                    <a:pt x="15324" y="9192"/>
                  </a:cubicBezTo>
                  <a:cubicBezTo>
                    <a:pt x="14657" y="13241"/>
                    <a:pt x="10847" y="15979"/>
                    <a:pt x="6799" y="15324"/>
                  </a:cubicBezTo>
                  <a:cubicBezTo>
                    <a:pt x="2751" y="14657"/>
                    <a:pt x="1" y="10847"/>
                    <a:pt x="667" y="6799"/>
                  </a:cubicBezTo>
                  <a:cubicBezTo>
                    <a:pt x="1322" y="2751"/>
                    <a:pt x="5144" y="1"/>
                    <a:pt x="9192" y="668"/>
                  </a:cubicBezTo>
                  <a:close/>
                </a:path>
              </a:pathLst>
            </a:custGeom>
            <a:solidFill>
              <a:srgbClr val="CCCAC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 name="Google Shape;741;p38"/>
            <p:cNvSpPr/>
            <p:nvPr/>
          </p:nvSpPr>
          <p:spPr>
            <a:xfrm>
              <a:off x="1955300" y="1540500"/>
              <a:ext cx="351850" cy="352150"/>
            </a:xfrm>
            <a:custGeom>
              <a:avLst/>
              <a:gdLst/>
              <a:ahLst/>
              <a:cxnLst/>
              <a:rect l="l" t="t" r="r" b="b"/>
              <a:pathLst>
                <a:path w="14074" h="14086" extrusionOk="0">
                  <a:moveTo>
                    <a:pt x="7025" y="0"/>
                  </a:moveTo>
                  <a:lnTo>
                    <a:pt x="7037" y="1239"/>
                  </a:lnTo>
                  <a:cubicBezTo>
                    <a:pt x="8180" y="1239"/>
                    <a:pt x="9299" y="1584"/>
                    <a:pt x="10251" y="2203"/>
                  </a:cubicBezTo>
                  <a:lnTo>
                    <a:pt x="10918" y="1179"/>
                  </a:lnTo>
                  <a:cubicBezTo>
                    <a:pt x="9775" y="405"/>
                    <a:pt x="8418" y="0"/>
                    <a:pt x="7037" y="0"/>
                  </a:cubicBezTo>
                  <a:close/>
                  <a:moveTo>
                    <a:pt x="5644" y="155"/>
                  </a:moveTo>
                  <a:cubicBezTo>
                    <a:pt x="4275" y="417"/>
                    <a:pt x="3024" y="1096"/>
                    <a:pt x="2036" y="2084"/>
                  </a:cubicBezTo>
                  <a:lnTo>
                    <a:pt x="2917" y="2953"/>
                  </a:lnTo>
                  <a:cubicBezTo>
                    <a:pt x="3739" y="2132"/>
                    <a:pt x="4763" y="1584"/>
                    <a:pt x="5882" y="1358"/>
                  </a:cubicBezTo>
                  <a:lnTo>
                    <a:pt x="5644" y="155"/>
                  </a:lnTo>
                  <a:close/>
                  <a:moveTo>
                    <a:pt x="11978" y="2060"/>
                  </a:moveTo>
                  <a:lnTo>
                    <a:pt x="11121" y="2941"/>
                  </a:lnTo>
                  <a:cubicBezTo>
                    <a:pt x="11942" y="3751"/>
                    <a:pt x="12502" y="4763"/>
                    <a:pt x="12728" y="5894"/>
                  </a:cubicBezTo>
                  <a:lnTo>
                    <a:pt x="13919" y="5644"/>
                  </a:lnTo>
                  <a:cubicBezTo>
                    <a:pt x="13645" y="4287"/>
                    <a:pt x="12978" y="3036"/>
                    <a:pt x="11978" y="2060"/>
                  </a:cubicBezTo>
                  <a:close/>
                  <a:moveTo>
                    <a:pt x="1179" y="3144"/>
                  </a:moveTo>
                  <a:cubicBezTo>
                    <a:pt x="405" y="4310"/>
                    <a:pt x="0" y="5656"/>
                    <a:pt x="0" y="7061"/>
                  </a:cubicBezTo>
                  <a:lnTo>
                    <a:pt x="1227" y="7049"/>
                  </a:lnTo>
                  <a:cubicBezTo>
                    <a:pt x="1227" y="5894"/>
                    <a:pt x="1560" y="4787"/>
                    <a:pt x="2203" y="3834"/>
                  </a:cubicBezTo>
                  <a:lnTo>
                    <a:pt x="1179" y="3144"/>
                  </a:lnTo>
                  <a:close/>
                  <a:moveTo>
                    <a:pt x="14073" y="7013"/>
                  </a:moveTo>
                  <a:lnTo>
                    <a:pt x="12847" y="7049"/>
                  </a:lnTo>
                  <a:cubicBezTo>
                    <a:pt x="12847" y="8204"/>
                    <a:pt x="12502" y="9323"/>
                    <a:pt x="11859" y="10275"/>
                  </a:cubicBezTo>
                  <a:lnTo>
                    <a:pt x="12883" y="10954"/>
                  </a:lnTo>
                  <a:cubicBezTo>
                    <a:pt x="13657" y="9799"/>
                    <a:pt x="14073" y="8442"/>
                    <a:pt x="14073" y="7049"/>
                  </a:cubicBezTo>
                  <a:lnTo>
                    <a:pt x="14073" y="7013"/>
                  </a:lnTo>
                  <a:close/>
                  <a:moveTo>
                    <a:pt x="1334" y="8192"/>
                  </a:moveTo>
                  <a:lnTo>
                    <a:pt x="131" y="8430"/>
                  </a:lnTo>
                  <a:cubicBezTo>
                    <a:pt x="417" y="9799"/>
                    <a:pt x="1072" y="11049"/>
                    <a:pt x="2072" y="12026"/>
                  </a:cubicBezTo>
                  <a:lnTo>
                    <a:pt x="2929" y="11157"/>
                  </a:lnTo>
                  <a:cubicBezTo>
                    <a:pt x="2108" y="10347"/>
                    <a:pt x="1560" y="9323"/>
                    <a:pt x="1334" y="8192"/>
                  </a:cubicBezTo>
                  <a:close/>
                  <a:moveTo>
                    <a:pt x="11144" y="11145"/>
                  </a:moveTo>
                  <a:cubicBezTo>
                    <a:pt x="10347" y="11966"/>
                    <a:pt x="9311" y="12514"/>
                    <a:pt x="8180" y="12740"/>
                  </a:cubicBezTo>
                  <a:lnTo>
                    <a:pt x="8418" y="13955"/>
                  </a:lnTo>
                  <a:cubicBezTo>
                    <a:pt x="9775" y="13681"/>
                    <a:pt x="11025" y="13014"/>
                    <a:pt x="12002" y="12014"/>
                  </a:cubicBezTo>
                  <a:lnTo>
                    <a:pt x="11144" y="11145"/>
                  </a:lnTo>
                  <a:close/>
                  <a:moveTo>
                    <a:pt x="3810" y="11883"/>
                  </a:moveTo>
                  <a:lnTo>
                    <a:pt x="3120" y="12907"/>
                  </a:lnTo>
                  <a:cubicBezTo>
                    <a:pt x="4286" y="13681"/>
                    <a:pt x="5644" y="14085"/>
                    <a:pt x="7037" y="14085"/>
                  </a:cubicBezTo>
                  <a:lnTo>
                    <a:pt x="7025" y="12847"/>
                  </a:lnTo>
                  <a:cubicBezTo>
                    <a:pt x="5882" y="12847"/>
                    <a:pt x="4763" y="12526"/>
                    <a:pt x="3810" y="11883"/>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 name="Google Shape;742;p38"/>
            <p:cNvSpPr/>
            <p:nvPr/>
          </p:nvSpPr>
          <p:spPr>
            <a:xfrm>
              <a:off x="2073450" y="1659250"/>
              <a:ext cx="115525" cy="115525"/>
            </a:xfrm>
            <a:custGeom>
              <a:avLst/>
              <a:gdLst/>
              <a:ahLst/>
              <a:cxnLst/>
              <a:rect l="l" t="t" r="r" b="b"/>
              <a:pathLst>
                <a:path w="4621" h="4621" extrusionOk="0">
                  <a:moveTo>
                    <a:pt x="4621" y="2311"/>
                  </a:moveTo>
                  <a:cubicBezTo>
                    <a:pt x="4621" y="3585"/>
                    <a:pt x="3597" y="4621"/>
                    <a:pt x="2311" y="4621"/>
                  </a:cubicBezTo>
                  <a:cubicBezTo>
                    <a:pt x="1025" y="4621"/>
                    <a:pt x="1" y="3585"/>
                    <a:pt x="1" y="2311"/>
                  </a:cubicBezTo>
                  <a:cubicBezTo>
                    <a:pt x="1" y="1025"/>
                    <a:pt x="1025" y="1"/>
                    <a:pt x="2311" y="1"/>
                  </a:cubicBezTo>
                  <a:cubicBezTo>
                    <a:pt x="3597" y="1"/>
                    <a:pt x="4621" y="1025"/>
                    <a:pt x="4621" y="2311"/>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 name="Google Shape;743;p38"/>
            <p:cNvSpPr/>
            <p:nvPr/>
          </p:nvSpPr>
          <p:spPr>
            <a:xfrm>
              <a:off x="2104725" y="1690525"/>
              <a:ext cx="53000" cy="53000"/>
            </a:xfrm>
            <a:custGeom>
              <a:avLst/>
              <a:gdLst/>
              <a:ahLst/>
              <a:cxnLst/>
              <a:rect l="l" t="t" r="r" b="b"/>
              <a:pathLst>
                <a:path w="2120" h="2120" extrusionOk="0">
                  <a:moveTo>
                    <a:pt x="2119" y="1060"/>
                  </a:moveTo>
                  <a:cubicBezTo>
                    <a:pt x="2119" y="1643"/>
                    <a:pt x="1643" y="2119"/>
                    <a:pt x="1060" y="2119"/>
                  </a:cubicBezTo>
                  <a:cubicBezTo>
                    <a:pt x="476" y="2119"/>
                    <a:pt x="0" y="1643"/>
                    <a:pt x="0" y="1060"/>
                  </a:cubicBezTo>
                  <a:cubicBezTo>
                    <a:pt x="0" y="476"/>
                    <a:pt x="476" y="0"/>
                    <a:pt x="1060" y="0"/>
                  </a:cubicBezTo>
                  <a:cubicBezTo>
                    <a:pt x="1643" y="0"/>
                    <a:pt x="2119" y="464"/>
                    <a:pt x="2119" y="1060"/>
                  </a:cubicBezTo>
                  <a:close/>
                </a:path>
              </a:pathLst>
            </a:custGeom>
            <a:solidFill>
              <a:srgbClr val="6B6A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 name="Google Shape;744;p38"/>
            <p:cNvSpPr/>
            <p:nvPr/>
          </p:nvSpPr>
          <p:spPr>
            <a:xfrm>
              <a:off x="1946650" y="1731900"/>
              <a:ext cx="96175" cy="128300"/>
            </a:xfrm>
            <a:custGeom>
              <a:avLst/>
              <a:gdLst/>
              <a:ahLst/>
              <a:cxnLst/>
              <a:rect l="l" t="t" r="r" b="b"/>
              <a:pathLst>
                <a:path w="3847" h="5132" extrusionOk="0">
                  <a:moveTo>
                    <a:pt x="2668" y="5132"/>
                  </a:moveTo>
                  <a:lnTo>
                    <a:pt x="3847" y="3691"/>
                  </a:lnTo>
                  <a:cubicBezTo>
                    <a:pt x="3847" y="3691"/>
                    <a:pt x="1918" y="2274"/>
                    <a:pt x="1894" y="0"/>
                  </a:cubicBezTo>
                  <a:lnTo>
                    <a:pt x="13" y="286"/>
                  </a:lnTo>
                  <a:cubicBezTo>
                    <a:pt x="1" y="298"/>
                    <a:pt x="156" y="3000"/>
                    <a:pt x="2668" y="5132"/>
                  </a:cubicBezTo>
                  <a:close/>
                </a:path>
              </a:pathLst>
            </a:custGeom>
            <a:solidFill>
              <a:srgbClr val="9B113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 name="Google Shape;745;p38"/>
            <p:cNvSpPr/>
            <p:nvPr/>
          </p:nvSpPr>
          <p:spPr>
            <a:xfrm>
              <a:off x="2561325" y="1439000"/>
              <a:ext cx="603975" cy="530750"/>
            </a:xfrm>
            <a:custGeom>
              <a:avLst/>
              <a:gdLst/>
              <a:ahLst/>
              <a:cxnLst/>
              <a:rect l="l" t="t" r="r" b="b"/>
              <a:pathLst>
                <a:path w="24159" h="21230" extrusionOk="0">
                  <a:moveTo>
                    <a:pt x="24158" y="11109"/>
                  </a:moveTo>
                  <a:cubicBezTo>
                    <a:pt x="24158" y="15348"/>
                    <a:pt x="21967" y="19086"/>
                    <a:pt x="18669" y="21229"/>
                  </a:cubicBezTo>
                  <a:lnTo>
                    <a:pt x="5489" y="21229"/>
                  </a:lnTo>
                  <a:cubicBezTo>
                    <a:pt x="2191" y="19062"/>
                    <a:pt x="0" y="15348"/>
                    <a:pt x="0" y="11109"/>
                  </a:cubicBezTo>
                  <a:cubicBezTo>
                    <a:pt x="0" y="6180"/>
                    <a:pt x="2965" y="1941"/>
                    <a:pt x="7192" y="48"/>
                  </a:cubicBezTo>
                  <a:lnTo>
                    <a:pt x="7192" y="48"/>
                  </a:lnTo>
                  <a:lnTo>
                    <a:pt x="16848" y="0"/>
                  </a:lnTo>
                  <a:lnTo>
                    <a:pt x="16848" y="0"/>
                  </a:lnTo>
                  <a:cubicBezTo>
                    <a:pt x="21146" y="1858"/>
                    <a:pt x="24158" y="6132"/>
                    <a:pt x="24158" y="11109"/>
                  </a:cubicBezTo>
                  <a:close/>
                </a:path>
              </a:pathLst>
            </a:custGeom>
            <a:solidFill>
              <a:srgbClr val="0C152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 name="Google Shape;746;p38"/>
            <p:cNvSpPr/>
            <p:nvPr/>
          </p:nvSpPr>
          <p:spPr>
            <a:xfrm>
              <a:off x="2663425" y="1516975"/>
              <a:ext cx="399475" cy="399775"/>
            </a:xfrm>
            <a:custGeom>
              <a:avLst/>
              <a:gdLst/>
              <a:ahLst/>
              <a:cxnLst/>
              <a:rect l="l" t="t" r="r" b="b"/>
              <a:pathLst>
                <a:path w="15979" h="15991" extrusionOk="0">
                  <a:moveTo>
                    <a:pt x="9192" y="668"/>
                  </a:moveTo>
                  <a:cubicBezTo>
                    <a:pt x="13240" y="1322"/>
                    <a:pt x="15978" y="5144"/>
                    <a:pt x="15323" y="9192"/>
                  </a:cubicBezTo>
                  <a:cubicBezTo>
                    <a:pt x="14657" y="13241"/>
                    <a:pt x="10847" y="15991"/>
                    <a:pt x="6799" y="15324"/>
                  </a:cubicBezTo>
                  <a:cubicBezTo>
                    <a:pt x="2750" y="14657"/>
                    <a:pt x="0" y="10847"/>
                    <a:pt x="667" y="6799"/>
                  </a:cubicBezTo>
                  <a:cubicBezTo>
                    <a:pt x="1322" y="2751"/>
                    <a:pt x="5144" y="1"/>
                    <a:pt x="9192" y="668"/>
                  </a:cubicBezTo>
                  <a:close/>
                </a:path>
              </a:pathLst>
            </a:custGeom>
            <a:solidFill>
              <a:srgbClr val="CCCAC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 name="Google Shape;747;p38"/>
            <p:cNvSpPr/>
            <p:nvPr/>
          </p:nvSpPr>
          <p:spPr>
            <a:xfrm>
              <a:off x="2687225" y="1540500"/>
              <a:ext cx="351850" cy="352150"/>
            </a:xfrm>
            <a:custGeom>
              <a:avLst/>
              <a:gdLst/>
              <a:ahLst/>
              <a:cxnLst/>
              <a:rect l="l" t="t" r="r" b="b"/>
              <a:pathLst>
                <a:path w="14074" h="14086" extrusionOk="0">
                  <a:moveTo>
                    <a:pt x="7025" y="0"/>
                  </a:moveTo>
                  <a:lnTo>
                    <a:pt x="7037" y="1239"/>
                  </a:lnTo>
                  <a:cubicBezTo>
                    <a:pt x="8180" y="1239"/>
                    <a:pt x="9299" y="1584"/>
                    <a:pt x="10252" y="2203"/>
                  </a:cubicBezTo>
                  <a:lnTo>
                    <a:pt x="10919" y="1179"/>
                  </a:lnTo>
                  <a:cubicBezTo>
                    <a:pt x="9776" y="405"/>
                    <a:pt x="8418" y="0"/>
                    <a:pt x="7037" y="0"/>
                  </a:cubicBezTo>
                  <a:close/>
                  <a:moveTo>
                    <a:pt x="5656" y="155"/>
                  </a:moveTo>
                  <a:cubicBezTo>
                    <a:pt x="4287" y="417"/>
                    <a:pt x="3037" y="1096"/>
                    <a:pt x="2049" y="2084"/>
                  </a:cubicBezTo>
                  <a:lnTo>
                    <a:pt x="2930" y="2953"/>
                  </a:lnTo>
                  <a:cubicBezTo>
                    <a:pt x="3727" y="2132"/>
                    <a:pt x="4763" y="1584"/>
                    <a:pt x="5894" y="1358"/>
                  </a:cubicBezTo>
                  <a:lnTo>
                    <a:pt x="5656" y="155"/>
                  </a:lnTo>
                  <a:close/>
                  <a:moveTo>
                    <a:pt x="11990" y="2060"/>
                  </a:moveTo>
                  <a:lnTo>
                    <a:pt x="11133" y="2941"/>
                  </a:lnTo>
                  <a:cubicBezTo>
                    <a:pt x="11955" y="3751"/>
                    <a:pt x="12514" y="4763"/>
                    <a:pt x="12740" y="5894"/>
                  </a:cubicBezTo>
                  <a:lnTo>
                    <a:pt x="13931" y="5644"/>
                  </a:lnTo>
                  <a:cubicBezTo>
                    <a:pt x="13657" y="4287"/>
                    <a:pt x="12990" y="3036"/>
                    <a:pt x="11990" y="2060"/>
                  </a:cubicBezTo>
                  <a:close/>
                  <a:moveTo>
                    <a:pt x="1167" y="3144"/>
                  </a:moveTo>
                  <a:cubicBezTo>
                    <a:pt x="394" y="4310"/>
                    <a:pt x="1" y="5656"/>
                    <a:pt x="1" y="7061"/>
                  </a:cubicBezTo>
                  <a:lnTo>
                    <a:pt x="1227" y="7049"/>
                  </a:lnTo>
                  <a:cubicBezTo>
                    <a:pt x="1227" y="5894"/>
                    <a:pt x="1560" y="4787"/>
                    <a:pt x="2203" y="3834"/>
                  </a:cubicBezTo>
                  <a:lnTo>
                    <a:pt x="1167" y="3144"/>
                  </a:lnTo>
                  <a:close/>
                  <a:moveTo>
                    <a:pt x="14074" y="7013"/>
                  </a:moveTo>
                  <a:lnTo>
                    <a:pt x="12836" y="7049"/>
                  </a:lnTo>
                  <a:cubicBezTo>
                    <a:pt x="12836" y="8204"/>
                    <a:pt x="12502" y="9323"/>
                    <a:pt x="11859" y="10275"/>
                  </a:cubicBezTo>
                  <a:lnTo>
                    <a:pt x="12883" y="10954"/>
                  </a:lnTo>
                  <a:cubicBezTo>
                    <a:pt x="13657" y="9799"/>
                    <a:pt x="14074" y="8442"/>
                    <a:pt x="14074" y="7049"/>
                  </a:cubicBezTo>
                  <a:lnTo>
                    <a:pt x="14074" y="7013"/>
                  </a:lnTo>
                  <a:close/>
                  <a:moveTo>
                    <a:pt x="1334" y="8192"/>
                  </a:moveTo>
                  <a:lnTo>
                    <a:pt x="132" y="8430"/>
                  </a:lnTo>
                  <a:cubicBezTo>
                    <a:pt x="417" y="9799"/>
                    <a:pt x="1072" y="11049"/>
                    <a:pt x="2060" y="12026"/>
                  </a:cubicBezTo>
                  <a:lnTo>
                    <a:pt x="2930" y="11157"/>
                  </a:lnTo>
                  <a:cubicBezTo>
                    <a:pt x="2108" y="10347"/>
                    <a:pt x="1560" y="9323"/>
                    <a:pt x="1334" y="8192"/>
                  </a:cubicBezTo>
                  <a:close/>
                  <a:moveTo>
                    <a:pt x="11145" y="11145"/>
                  </a:moveTo>
                  <a:cubicBezTo>
                    <a:pt x="10335" y="11966"/>
                    <a:pt x="9311" y="12514"/>
                    <a:pt x="8180" y="12740"/>
                  </a:cubicBezTo>
                  <a:lnTo>
                    <a:pt x="8418" y="13955"/>
                  </a:lnTo>
                  <a:cubicBezTo>
                    <a:pt x="9776" y="13681"/>
                    <a:pt x="11026" y="13014"/>
                    <a:pt x="12002" y="12014"/>
                  </a:cubicBezTo>
                  <a:lnTo>
                    <a:pt x="11145" y="11145"/>
                  </a:lnTo>
                  <a:close/>
                  <a:moveTo>
                    <a:pt x="3823" y="11883"/>
                  </a:moveTo>
                  <a:lnTo>
                    <a:pt x="3132" y="12907"/>
                  </a:lnTo>
                  <a:cubicBezTo>
                    <a:pt x="4299" y="13681"/>
                    <a:pt x="5656" y="14085"/>
                    <a:pt x="7049" y="14085"/>
                  </a:cubicBezTo>
                  <a:lnTo>
                    <a:pt x="7037" y="12847"/>
                  </a:lnTo>
                  <a:cubicBezTo>
                    <a:pt x="5894" y="12847"/>
                    <a:pt x="4775" y="12526"/>
                    <a:pt x="3823" y="11883"/>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748;p38"/>
            <p:cNvSpPr/>
            <p:nvPr/>
          </p:nvSpPr>
          <p:spPr>
            <a:xfrm>
              <a:off x="2805400" y="1659250"/>
              <a:ext cx="115525" cy="115525"/>
            </a:xfrm>
            <a:custGeom>
              <a:avLst/>
              <a:gdLst/>
              <a:ahLst/>
              <a:cxnLst/>
              <a:rect l="l" t="t" r="r" b="b"/>
              <a:pathLst>
                <a:path w="4621" h="4621" extrusionOk="0">
                  <a:moveTo>
                    <a:pt x="4620" y="2311"/>
                  </a:moveTo>
                  <a:cubicBezTo>
                    <a:pt x="4620" y="3585"/>
                    <a:pt x="3584" y="4621"/>
                    <a:pt x="2310" y="4621"/>
                  </a:cubicBezTo>
                  <a:cubicBezTo>
                    <a:pt x="1024" y="4621"/>
                    <a:pt x="0" y="3585"/>
                    <a:pt x="0" y="2311"/>
                  </a:cubicBezTo>
                  <a:cubicBezTo>
                    <a:pt x="0" y="1025"/>
                    <a:pt x="1024" y="1"/>
                    <a:pt x="2310" y="1"/>
                  </a:cubicBezTo>
                  <a:cubicBezTo>
                    <a:pt x="3584" y="1"/>
                    <a:pt x="4620" y="1025"/>
                    <a:pt x="4620" y="2311"/>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 name="Google Shape;749;p38"/>
            <p:cNvSpPr/>
            <p:nvPr/>
          </p:nvSpPr>
          <p:spPr>
            <a:xfrm>
              <a:off x="2836650" y="1690525"/>
              <a:ext cx="53000" cy="53000"/>
            </a:xfrm>
            <a:custGeom>
              <a:avLst/>
              <a:gdLst/>
              <a:ahLst/>
              <a:cxnLst/>
              <a:rect l="l" t="t" r="r" b="b"/>
              <a:pathLst>
                <a:path w="2120" h="2120" extrusionOk="0">
                  <a:moveTo>
                    <a:pt x="2120" y="1060"/>
                  </a:moveTo>
                  <a:cubicBezTo>
                    <a:pt x="2120" y="1643"/>
                    <a:pt x="1644" y="2119"/>
                    <a:pt x="1060" y="2119"/>
                  </a:cubicBezTo>
                  <a:cubicBezTo>
                    <a:pt x="477" y="2119"/>
                    <a:pt x="1" y="1643"/>
                    <a:pt x="1" y="1060"/>
                  </a:cubicBezTo>
                  <a:cubicBezTo>
                    <a:pt x="1" y="476"/>
                    <a:pt x="477" y="0"/>
                    <a:pt x="1060" y="0"/>
                  </a:cubicBezTo>
                  <a:cubicBezTo>
                    <a:pt x="1644" y="0"/>
                    <a:pt x="2120" y="464"/>
                    <a:pt x="2120" y="1060"/>
                  </a:cubicBezTo>
                  <a:close/>
                </a:path>
              </a:pathLst>
            </a:custGeom>
            <a:solidFill>
              <a:srgbClr val="6B6A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 name="Google Shape;750;p38"/>
            <p:cNvSpPr/>
            <p:nvPr/>
          </p:nvSpPr>
          <p:spPr>
            <a:xfrm>
              <a:off x="1473100" y="1193125"/>
              <a:ext cx="2043725" cy="122075"/>
            </a:xfrm>
            <a:custGeom>
              <a:avLst/>
              <a:gdLst/>
              <a:ahLst/>
              <a:cxnLst/>
              <a:rect l="l" t="t" r="r" b="b"/>
              <a:pathLst>
                <a:path w="81749" h="4883" extrusionOk="0">
                  <a:moveTo>
                    <a:pt x="726" y="4882"/>
                  </a:moveTo>
                  <a:lnTo>
                    <a:pt x="357" y="1334"/>
                  </a:lnTo>
                  <a:cubicBezTo>
                    <a:pt x="298" y="787"/>
                    <a:pt x="726" y="299"/>
                    <a:pt x="1298" y="299"/>
                  </a:cubicBezTo>
                  <a:lnTo>
                    <a:pt x="80772" y="299"/>
                  </a:lnTo>
                  <a:cubicBezTo>
                    <a:pt x="81248" y="299"/>
                    <a:pt x="81617" y="703"/>
                    <a:pt x="81570" y="1180"/>
                  </a:cubicBezTo>
                  <a:lnTo>
                    <a:pt x="81260" y="4597"/>
                  </a:lnTo>
                  <a:lnTo>
                    <a:pt x="81427" y="4597"/>
                  </a:lnTo>
                  <a:lnTo>
                    <a:pt x="81725" y="834"/>
                  </a:lnTo>
                  <a:cubicBezTo>
                    <a:pt x="81748" y="382"/>
                    <a:pt x="81403" y="1"/>
                    <a:pt x="80951" y="1"/>
                  </a:cubicBezTo>
                  <a:lnTo>
                    <a:pt x="1262" y="1"/>
                  </a:lnTo>
                  <a:cubicBezTo>
                    <a:pt x="548" y="1"/>
                    <a:pt x="0" y="608"/>
                    <a:pt x="71" y="1322"/>
                  </a:cubicBezTo>
                  <a:lnTo>
                    <a:pt x="429" y="4882"/>
                  </a:lnTo>
                  <a:lnTo>
                    <a:pt x="726" y="4882"/>
                  </a:lnTo>
                  <a:close/>
                </a:path>
              </a:pathLst>
            </a:custGeom>
            <a:solidFill>
              <a:srgbClr val="2118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 name="Google Shape;751;p38"/>
            <p:cNvSpPr/>
            <p:nvPr/>
          </p:nvSpPr>
          <p:spPr>
            <a:xfrm>
              <a:off x="2059775" y="1414000"/>
              <a:ext cx="881375" cy="579850"/>
            </a:xfrm>
            <a:custGeom>
              <a:avLst/>
              <a:gdLst/>
              <a:ahLst/>
              <a:cxnLst/>
              <a:rect l="l" t="t" r="r" b="b"/>
              <a:pathLst>
                <a:path w="35255" h="23194" extrusionOk="0">
                  <a:moveTo>
                    <a:pt x="0" y="96"/>
                  </a:moveTo>
                  <a:lnTo>
                    <a:pt x="1310" y="23194"/>
                  </a:lnTo>
                  <a:lnTo>
                    <a:pt x="34481" y="23194"/>
                  </a:lnTo>
                  <a:lnTo>
                    <a:pt x="35255" y="0"/>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 name="Google Shape;752;p38"/>
            <p:cNvSpPr/>
            <p:nvPr/>
          </p:nvSpPr>
          <p:spPr>
            <a:xfrm>
              <a:off x="2135075" y="1444650"/>
              <a:ext cx="743575" cy="525400"/>
            </a:xfrm>
            <a:custGeom>
              <a:avLst/>
              <a:gdLst/>
              <a:ahLst/>
              <a:cxnLst/>
              <a:rect l="l" t="t" r="r" b="b"/>
              <a:pathLst>
                <a:path w="29743" h="21016" extrusionOk="0">
                  <a:moveTo>
                    <a:pt x="2060" y="21003"/>
                  </a:moveTo>
                  <a:lnTo>
                    <a:pt x="27825" y="20848"/>
                  </a:lnTo>
                  <a:cubicBezTo>
                    <a:pt x="28373" y="20848"/>
                    <a:pt x="28837" y="20444"/>
                    <a:pt x="28849" y="19944"/>
                  </a:cubicBezTo>
                  <a:lnTo>
                    <a:pt x="29719" y="977"/>
                  </a:lnTo>
                  <a:cubicBezTo>
                    <a:pt x="29742" y="441"/>
                    <a:pt x="29266" y="1"/>
                    <a:pt x="28671" y="1"/>
                  </a:cubicBezTo>
                  <a:lnTo>
                    <a:pt x="1072" y="1"/>
                  </a:lnTo>
                  <a:cubicBezTo>
                    <a:pt x="477" y="1"/>
                    <a:pt x="1" y="441"/>
                    <a:pt x="24" y="989"/>
                  </a:cubicBezTo>
                  <a:lnTo>
                    <a:pt x="1024" y="20098"/>
                  </a:lnTo>
                  <a:cubicBezTo>
                    <a:pt x="1048" y="20610"/>
                    <a:pt x="1513" y="21015"/>
                    <a:pt x="2060" y="21003"/>
                  </a:cubicBezTo>
                  <a:close/>
                </a:path>
              </a:pathLst>
            </a:custGeom>
            <a:solidFill>
              <a:srgbClr val="2118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 name="Google Shape;753;p38"/>
            <p:cNvSpPr/>
            <p:nvPr/>
          </p:nvSpPr>
          <p:spPr>
            <a:xfrm>
              <a:off x="2145800" y="1451800"/>
              <a:ext cx="723025" cy="510800"/>
            </a:xfrm>
            <a:custGeom>
              <a:avLst/>
              <a:gdLst/>
              <a:ahLst/>
              <a:cxnLst/>
              <a:rect l="l" t="t" r="r" b="b"/>
              <a:pathLst>
                <a:path w="28921" h="20432" extrusionOk="0">
                  <a:moveTo>
                    <a:pt x="28897" y="965"/>
                  </a:moveTo>
                  <a:lnTo>
                    <a:pt x="28813" y="2882"/>
                  </a:lnTo>
                  <a:lnTo>
                    <a:pt x="28813" y="2882"/>
                  </a:lnTo>
                  <a:lnTo>
                    <a:pt x="28539" y="8763"/>
                  </a:lnTo>
                  <a:lnTo>
                    <a:pt x="28147" y="17562"/>
                  </a:lnTo>
                  <a:lnTo>
                    <a:pt x="28051" y="19408"/>
                  </a:lnTo>
                  <a:cubicBezTo>
                    <a:pt x="28016" y="19896"/>
                    <a:pt x="27587" y="20277"/>
                    <a:pt x="27051" y="20277"/>
                  </a:cubicBezTo>
                  <a:lnTo>
                    <a:pt x="2000" y="20431"/>
                  </a:lnTo>
                  <a:cubicBezTo>
                    <a:pt x="1465" y="20431"/>
                    <a:pt x="1012" y="20039"/>
                    <a:pt x="988" y="19550"/>
                  </a:cubicBezTo>
                  <a:lnTo>
                    <a:pt x="917" y="18038"/>
                  </a:lnTo>
                  <a:lnTo>
                    <a:pt x="476" y="9347"/>
                  </a:lnTo>
                  <a:lnTo>
                    <a:pt x="131" y="2882"/>
                  </a:lnTo>
                  <a:lnTo>
                    <a:pt x="24" y="965"/>
                  </a:lnTo>
                  <a:cubicBezTo>
                    <a:pt x="0" y="441"/>
                    <a:pt x="453" y="0"/>
                    <a:pt x="1036" y="0"/>
                  </a:cubicBezTo>
                  <a:lnTo>
                    <a:pt x="27897" y="0"/>
                  </a:lnTo>
                  <a:cubicBezTo>
                    <a:pt x="28456" y="0"/>
                    <a:pt x="28920" y="441"/>
                    <a:pt x="28897" y="965"/>
                  </a:cubicBezTo>
                  <a:close/>
                </a:path>
              </a:pathLst>
            </a:custGeom>
            <a:solidFill>
              <a:srgbClr val="EAE5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 name="Google Shape;754;p38"/>
            <p:cNvSpPr/>
            <p:nvPr/>
          </p:nvSpPr>
          <p:spPr>
            <a:xfrm>
              <a:off x="2452075" y="1414600"/>
              <a:ext cx="411100" cy="20550"/>
            </a:xfrm>
            <a:custGeom>
              <a:avLst/>
              <a:gdLst/>
              <a:ahLst/>
              <a:cxnLst/>
              <a:rect l="l" t="t" r="r" b="b"/>
              <a:pathLst>
                <a:path w="16444" h="822" extrusionOk="0">
                  <a:moveTo>
                    <a:pt x="203" y="83"/>
                  </a:moveTo>
                  <a:lnTo>
                    <a:pt x="1" y="822"/>
                  </a:lnTo>
                  <a:lnTo>
                    <a:pt x="16098" y="691"/>
                  </a:lnTo>
                  <a:lnTo>
                    <a:pt x="16443" y="0"/>
                  </a:lnTo>
                  <a:close/>
                </a:path>
              </a:pathLst>
            </a:custGeom>
            <a:solidFill>
              <a:srgbClr val="CECED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 name="Google Shape;755;p38"/>
            <p:cNvSpPr/>
            <p:nvPr/>
          </p:nvSpPr>
          <p:spPr>
            <a:xfrm>
              <a:off x="2144900" y="1451800"/>
              <a:ext cx="723925" cy="236050"/>
            </a:xfrm>
            <a:custGeom>
              <a:avLst/>
              <a:gdLst/>
              <a:ahLst/>
              <a:cxnLst/>
              <a:rect l="l" t="t" r="r" b="b"/>
              <a:pathLst>
                <a:path w="28957" h="9442" extrusionOk="0">
                  <a:moveTo>
                    <a:pt x="28933" y="965"/>
                  </a:moveTo>
                  <a:lnTo>
                    <a:pt x="28849" y="2882"/>
                  </a:lnTo>
                  <a:lnTo>
                    <a:pt x="28849" y="2882"/>
                  </a:lnTo>
                  <a:lnTo>
                    <a:pt x="28575" y="8763"/>
                  </a:lnTo>
                  <a:lnTo>
                    <a:pt x="512" y="9442"/>
                  </a:lnTo>
                  <a:lnTo>
                    <a:pt x="477" y="9347"/>
                  </a:lnTo>
                  <a:lnTo>
                    <a:pt x="143" y="2882"/>
                  </a:lnTo>
                  <a:lnTo>
                    <a:pt x="36" y="965"/>
                  </a:lnTo>
                  <a:cubicBezTo>
                    <a:pt x="0" y="441"/>
                    <a:pt x="465" y="0"/>
                    <a:pt x="1048" y="0"/>
                  </a:cubicBezTo>
                  <a:lnTo>
                    <a:pt x="27909" y="0"/>
                  </a:lnTo>
                  <a:cubicBezTo>
                    <a:pt x="28492" y="0"/>
                    <a:pt x="28956" y="441"/>
                    <a:pt x="28933" y="965"/>
                  </a:cubicBezTo>
                  <a:close/>
                </a:path>
              </a:pathLst>
            </a:custGeom>
            <a:solidFill>
              <a:srgbClr val="DB450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756;p38"/>
            <p:cNvSpPr/>
            <p:nvPr/>
          </p:nvSpPr>
          <p:spPr>
            <a:xfrm>
              <a:off x="1490950" y="1970025"/>
              <a:ext cx="2018125" cy="23825"/>
            </a:xfrm>
            <a:custGeom>
              <a:avLst/>
              <a:gdLst/>
              <a:ahLst/>
              <a:cxnLst/>
              <a:rect l="l" t="t" r="r" b="b"/>
              <a:pathLst>
                <a:path w="80725" h="953" extrusionOk="0">
                  <a:moveTo>
                    <a:pt x="0" y="953"/>
                  </a:moveTo>
                  <a:lnTo>
                    <a:pt x="80713" y="953"/>
                  </a:lnTo>
                  <a:lnTo>
                    <a:pt x="80725" y="405"/>
                  </a:lnTo>
                  <a:lnTo>
                    <a:pt x="0" y="0"/>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 name="Google Shape;757;p38"/>
            <p:cNvSpPr/>
            <p:nvPr/>
          </p:nvSpPr>
          <p:spPr>
            <a:xfrm>
              <a:off x="1471600" y="1412500"/>
              <a:ext cx="2052950" cy="31275"/>
            </a:xfrm>
            <a:custGeom>
              <a:avLst/>
              <a:gdLst/>
              <a:ahLst/>
              <a:cxnLst/>
              <a:rect l="l" t="t" r="r" b="b"/>
              <a:pathLst>
                <a:path w="82118" h="1251" extrusionOk="0">
                  <a:moveTo>
                    <a:pt x="1" y="1251"/>
                  </a:moveTo>
                  <a:lnTo>
                    <a:pt x="81963" y="1037"/>
                  </a:lnTo>
                  <a:lnTo>
                    <a:pt x="82118" y="1"/>
                  </a:lnTo>
                  <a:lnTo>
                    <a:pt x="108" y="215"/>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3" name="Picture 2" descr="A picture containing leaf&#10;&#10;Description automatically generated">
            <a:extLst>
              <a:ext uri="{FF2B5EF4-FFF2-40B4-BE49-F238E27FC236}">
                <a16:creationId xmlns:a16="http://schemas.microsoft.com/office/drawing/2014/main" id="{D77CEA89-85CC-4A8E-9277-EC7B80D6E2B1}"/>
              </a:ext>
            </a:extLst>
          </p:cNvPr>
          <p:cNvPicPr>
            <a:picLocks noChangeAspect="1"/>
          </p:cNvPicPr>
          <p:nvPr/>
        </p:nvPicPr>
        <p:blipFill>
          <a:blip r:embed="rId3">
            <a:duotone>
              <a:prstClr val="black"/>
              <a:srgbClr val="EAE5C4">
                <a:tint val="45000"/>
                <a:satMod val="400000"/>
              </a:srgbClr>
            </a:duotone>
            <a:extLst>
              <a:ext uri="{BEBA8EAE-BF5A-486C-A8C5-ECC9F3942E4B}">
                <a14:imgProps xmlns:a14="http://schemas.microsoft.com/office/drawing/2010/main">
                  <a14:imgLayer r:embed="rId4">
                    <a14:imgEffect>
                      <a14:brightnessContrast bright="20000"/>
                    </a14:imgEffect>
                  </a14:imgLayer>
                </a14:imgProps>
              </a:ext>
            </a:extLst>
          </a:blip>
          <a:stretch>
            <a:fillRect/>
          </a:stretch>
        </p:blipFill>
        <p:spPr>
          <a:xfrm>
            <a:off x="0" y="1511789"/>
            <a:ext cx="6615455" cy="1903764"/>
          </a:xfrm>
          <a:prstGeom prst="rect">
            <a:avLst/>
          </a:prstGeom>
        </p:spPr>
      </p:pic>
      <p:pic>
        <p:nvPicPr>
          <p:cNvPr id="5" name="Picture 4" descr="Graphical user interface, text, application, chat or text message&#10;&#10;Description automatically generated">
            <a:extLst>
              <a:ext uri="{FF2B5EF4-FFF2-40B4-BE49-F238E27FC236}">
                <a16:creationId xmlns:a16="http://schemas.microsoft.com/office/drawing/2014/main" id="{5F83E5A0-F10D-4C89-9D4C-336AD4089A43}"/>
              </a:ext>
            </a:extLst>
          </p:cNvPr>
          <p:cNvPicPr>
            <a:picLocks noChangeAspect="1"/>
          </p:cNvPicPr>
          <p:nvPr/>
        </p:nvPicPr>
        <p:blipFill>
          <a:blip r:embed="rId5"/>
          <a:stretch>
            <a:fillRect/>
          </a:stretch>
        </p:blipFill>
        <p:spPr>
          <a:xfrm>
            <a:off x="6730688" y="1818534"/>
            <a:ext cx="2240056" cy="1290273"/>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627"/>
        <p:cNvGrpSpPr/>
        <p:nvPr/>
      </p:nvGrpSpPr>
      <p:grpSpPr>
        <a:xfrm>
          <a:off x="0" y="0"/>
          <a:ext cx="0" cy="0"/>
          <a:chOff x="0" y="0"/>
          <a:chExt cx="0" cy="0"/>
        </a:xfrm>
      </p:grpSpPr>
      <p:grpSp>
        <p:nvGrpSpPr>
          <p:cNvPr id="628" name="Google Shape;628;p38"/>
          <p:cNvGrpSpPr/>
          <p:nvPr/>
        </p:nvGrpSpPr>
        <p:grpSpPr>
          <a:xfrm>
            <a:off x="4847875" y="987775"/>
            <a:ext cx="3693075" cy="3196200"/>
            <a:chOff x="4847875" y="987775"/>
            <a:chExt cx="3693075" cy="3196200"/>
          </a:xfrm>
        </p:grpSpPr>
        <p:sp>
          <p:nvSpPr>
            <p:cNvPr id="629" name="Google Shape;629;p38"/>
            <p:cNvSpPr/>
            <p:nvPr/>
          </p:nvSpPr>
          <p:spPr>
            <a:xfrm>
              <a:off x="5137790" y="987775"/>
              <a:ext cx="3196200" cy="31962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30" name="Google Shape;630;p38"/>
            <p:cNvGrpSpPr/>
            <p:nvPr/>
          </p:nvGrpSpPr>
          <p:grpSpPr>
            <a:xfrm>
              <a:off x="5373734" y="1223700"/>
              <a:ext cx="2724312" cy="2724350"/>
              <a:chOff x="5373738" y="1209600"/>
              <a:chExt cx="2724312" cy="2724350"/>
            </a:xfrm>
          </p:grpSpPr>
          <p:sp>
            <p:nvSpPr>
              <p:cNvPr id="631" name="Google Shape;631;p38"/>
              <p:cNvSpPr/>
              <p:nvPr/>
            </p:nvSpPr>
            <p:spPr>
              <a:xfrm>
                <a:off x="5373738" y="1209600"/>
                <a:ext cx="2724300" cy="27243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32" name="Google Shape;632;p38"/>
              <p:cNvGrpSpPr/>
              <p:nvPr/>
            </p:nvGrpSpPr>
            <p:grpSpPr>
              <a:xfrm>
                <a:off x="5373750" y="1209600"/>
                <a:ext cx="2724300" cy="302700"/>
                <a:chOff x="5373750" y="1209600"/>
                <a:chExt cx="2724300" cy="302700"/>
              </a:xfrm>
            </p:grpSpPr>
            <p:sp>
              <p:nvSpPr>
                <p:cNvPr id="633" name="Google Shape;63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63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63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63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63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63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63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64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64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2" name="Google Shape;642;p38"/>
              <p:cNvGrpSpPr/>
              <p:nvPr/>
            </p:nvGrpSpPr>
            <p:grpSpPr>
              <a:xfrm>
                <a:off x="5373750" y="1512300"/>
                <a:ext cx="2724300" cy="302700"/>
                <a:chOff x="5373750" y="1209600"/>
                <a:chExt cx="2724300" cy="302700"/>
              </a:xfrm>
            </p:grpSpPr>
            <p:sp>
              <p:nvSpPr>
                <p:cNvPr id="643" name="Google Shape;64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64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64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64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64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64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64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65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65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2" name="Google Shape;652;p38"/>
              <p:cNvGrpSpPr/>
              <p:nvPr/>
            </p:nvGrpSpPr>
            <p:grpSpPr>
              <a:xfrm>
                <a:off x="5373750" y="1815000"/>
                <a:ext cx="2724300" cy="302700"/>
                <a:chOff x="5373750" y="1209600"/>
                <a:chExt cx="2724300" cy="302700"/>
              </a:xfrm>
            </p:grpSpPr>
            <p:sp>
              <p:nvSpPr>
                <p:cNvPr id="653" name="Google Shape;65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65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65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65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65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65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65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2" name="Google Shape;662;p38"/>
              <p:cNvGrpSpPr/>
              <p:nvPr/>
            </p:nvGrpSpPr>
            <p:grpSpPr>
              <a:xfrm>
                <a:off x="5373750" y="2117700"/>
                <a:ext cx="2724300" cy="302700"/>
                <a:chOff x="5373750" y="1209600"/>
                <a:chExt cx="2724300" cy="302700"/>
              </a:xfrm>
            </p:grpSpPr>
            <p:sp>
              <p:nvSpPr>
                <p:cNvPr id="663" name="Google Shape;66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66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66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66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66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66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67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672;p38"/>
              <p:cNvGrpSpPr/>
              <p:nvPr/>
            </p:nvGrpSpPr>
            <p:grpSpPr>
              <a:xfrm>
                <a:off x="5373750" y="2420400"/>
                <a:ext cx="2724300" cy="302700"/>
                <a:chOff x="5373750" y="1209600"/>
                <a:chExt cx="2724300" cy="302700"/>
              </a:xfrm>
            </p:grpSpPr>
            <p:sp>
              <p:nvSpPr>
                <p:cNvPr id="673" name="Google Shape;67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67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67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67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67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67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68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68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2" name="Google Shape;682;p38"/>
              <p:cNvGrpSpPr/>
              <p:nvPr/>
            </p:nvGrpSpPr>
            <p:grpSpPr>
              <a:xfrm>
                <a:off x="5373750" y="2723100"/>
                <a:ext cx="2724300" cy="302700"/>
                <a:chOff x="5373750" y="1209600"/>
                <a:chExt cx="2724300" cy="302700"/>
              </a:xfrm>
            </p:grpSpPr>
            <p:sp>
              <p:nvSpPr>
                <p:cNvPr id="683" name="Google Shape;68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68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 name="Google Shape;68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 name="Google Shape;68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 name="Google Shape;68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 name="Google Shape;68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68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69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 name="Google Shape;69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2" name="Google Shape;692;p38"/>
              <p:cNvGrpSpPr/>
              <p:nvPr/>
            </p:nvGrpSpPr>
            <p:grpSpPr>
              <a:xfrm>
                <a:off x="5373750" y="3025800"/>
                <a:ext cx="2724300" cy="302700"/>
                <a:chOff x="5373750" y="1209600"/>
                <a:chExt cx="2724300" cy="302700"/>
              </a:xfrm>
            </p:grpSpPr>
            <p:sp>
              <p:nvSpPr>
                <p:cNvPr id="693" name="Google Shape;69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 name="Google Shape;69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 name="Google Shape;69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 name="Google Shape;69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 name="Google Shape;69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 name="Google Shape;69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 name="Google Shape;69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 name="Google Shape;70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 name="Google Shape;70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2" name="Google Shape;702;p38"/>
              <p:cNvGrpSpPr/>
              <p:nvPr/>
            </p:nvGrpSpPr>
            <p:grpSpPr>
              <a:xfrm>
                <a:off x="5373750" y="3328500"/>
                <a:ext cx="2724300" cy="302700"/>
                <a:chOff x="5373750" y="1209600"/>
                <a:chExt cx="2724300" cy="302700"/>
              </a:xfrm>
            </p:grpSpPr>
            <p:sp>
              <p:nvSpPr>
                <p:cNvPr id="703" name="Google Shape;70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 name="Google Shape;70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 name="Google Shape;70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 name="Google Shape;70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 name="Google Shape;70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 name="Google Shape;70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 name="Google Shape;70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 name="Google Shape;71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 name="Google Shape;71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2" name="Google Shape;712;p38"/>
              <p:cNvGrpSpPr/>
              <p:nvPr/>
            </p:nvGrpSpPr>
            <p:grpSpPr>
              <a:xfrm>
                <a:off x="5373750" y="3631250"/>
                <a:ext cx="2724300" cy="302700"/>
                <a:chOff x="5373750" y="1209600"/>
                <a:chExt cx="2724300" cy="302700"/>
              </a:xfrm>
            </p:grpSpPr>
            <p:sp>
              <p:nvSpPr>
                <p:cNvPr id="713" name="Google Shape;71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 name="Google Shape;71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 name="Google Shape;71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 name="Google Shape;71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 name="Google Shape;71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 name="Google Shape;71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 name="Google Shape;71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 name="Google Shape;72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 name="Google Shape;72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22" name="Google Shape;722;p38"/>
            <p:cNvSpPr/>
            <p:nvPr/>
          </p:nvSpPr>
          <p:spPr>
            <a:xfrm>
              <a:off x="8310900" y="1404050"/>
              <a:ext cx="98700" cy="42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 name="Google Shape;723;p38"/>
            <p:cNvSpPr/>
            <p:nvPr/>
          </p:nvSpPr>
          <p:spPr>
            <a:xfrm>
              <a:off x="8298950" y="1446350"/>
              <a:ext cx="98700" cy="42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 name="Google Shape;724;p38"/>
            <p:cNvSpPr/>
            <p:nvPr/>
          </p:nvSpPr>
          <p:spPr>
            <a:xfrm>
              <a:off x="8381250" y="1512575"/>
              <a:ext cx="44100" cy="42300"/>
            </a:xfrm>
            <a:prstGeom prst="rect">
              <a:avLst/>
            </a:prstGeom>
            <a:solidFill>
              <a:srgbClr val="EAE5C4">
                <a:alpha val="312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 name="Google Shape;725;p38"/>
            <p:cNvSpPr/>
            <p:nvPr/>
          </p:nvSpPr>
          <p:spPr>
            <a:xfrm>
              <a:off x="8442250" y="1579900"/>
              <a:ext cx="98700" cy="42300"/>
            </a:xfrm>
            <a:prstGeom prst="rect">
              <a:avLst/>
            </a:prstGeom>
            <a:solidFill>
              <a:srgbClr val="EAE5C4">
                <a:alpha val="312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 name="Google Shape;726;p38"/>
            <p:cNvSpPr/>
            <p:nvPr/>
          </p:nvSpPr>
          <p:spPr>
            <a:xfrm>
              <a:off x="5086500" y="3577175"/>
              <a:ext cx="98700" cy="42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 name="Google Shape;727;p38"/>
            <p:cNvSpPr/>
            <p:nvPr/>
          </p:nvSpPr>
          <p:spPr>
            <a:xfrm>
              <a:off x="5086500" y="3619475"/>
              <a:ext cx="98700" cy="42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 name="Google Shape;728;p38"/>
            <p:cNvSpPr/>
            <p:nvPr/>
          </p:nvSpPr>
          <p:spPr>
            <a:xfrm>
              <a:off x="4980325" y="3503250"/>
              <a:ext cx="98700" cy="42300"/>
            </a:xfrm>
            <a:prstGeom prst="rect">
              <a:avLst/>
            </a:prstGeom>
            <a:solidFill>
              <a:srgbClr val="EAE5C4">
                <a:alpha val="312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 name="Google Shape;729;p38"/>
            <p:cNvSpPr/>
            <p:nvPr/>
          </p:nvSpPr>
          <p:spPr>
            <a:xfrm>
              <a:off x="4980325" y="3649750"/>
              <a:ext cx="50100" cy="42300"/>
            </a:xfrm>
            <a:prstGeom prst="rect">
              <a:avLst/>
            </a:prstGeom>
            <a:solidFill>
              <a:srgbClr val="EAE5C4">
                <a:alpha val="312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 name="Google Shape;730;p38"/>
            <p:cNvSpPr/>
            <p:nvPr/>
          </p:nvSpPr>
          <p:spPr>
            <a:xfrm>
              <a:off x="4847875" y="3577175"/>
              <a:ext cx="50100" cy="42300"/>
            </a:xfrm>
            <a:prstGeom prst="rect">
              <a:avLst/>
            </a:prstGeom>
            <a:solidFill>
              <a:srgbClr val="EAE5C4">
                <a:alpha val="312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 name="Google Shape;731;p38"/>
            <p:cNvSpPr/>
            <p:nvPr/>
          </p:nvSpPr>
          <p:spPr>
            <a:xfrm>
              <a:off x="5185200" y="3692050"/>
              <a:ext cx="50100" cy="42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32" name="Google Shape;732;p38"/>
          <p:cNvSpPr txBox="1">
            <a:spLocks noGrp="1"/>
          </p:cNvSpPr>
          <p:nvPr>
            <p:ph type="title"/>
          </p:nvPr>
        </p:nvSpPr>
        <p:spPr>
          <a:xfrm>
            <a:off x="1322903" y="512584"/>
            <a:ext cx="2962500" cy="563181"/>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FRAME RATE</a:t>
            </a:r>
            <a:br>
              <a:rPr lang="en" dirty="0"/>
            </a:br>
            <a:endParaRPr dirty="0"/>
          </a:p>
        </p:txBody>
      </p:sp>
      <p:grpSp>
        <p:nvGrpSpPr>
          <p:cNvPr id="733" name="Google Shape;733;p38"/>
          <p:cNvGrpSpPr/>
          <p:nvPr/>
        </p:nvGrpSpPr>
        <p:grpSpPr>
          <a:xfrm rot="-2700000">
            <a:off x="8133415" y="4288207"/>
            <a:ext cx="880780" cy="477899"/>
            <a:chOff x="1443025" y="1086275"/>
            <a:chExt cx="2111000" cy="1145400"/>
          </a:xfrm>
        </p:grpSpPr>
        <p:sp>
          <p:nvSpPr>
            <p:cNvPr id="734" name="Google Shape;734;p38"/>
            <p:cNvSpPr/>
            <p:nvPr/>
          </p:nvSpPr>
          <p:spPr>
            <a:xfrm>
              <a:off x="1443025" y="1086275"/>
              <a:ext cx="2111000" cy="229225"/>
            </a:xfrm>
            <a:custGeom>
              <a:avLst/>
              <a:gdLst/>
              <a:ahLst/>
              <a:cxnLst/>
              <a:rect l="l" t="t" r="r" b="b"/>
              <a:pathLst>
                <a:path w="84440" h="9169" extrusionOk="0">
                  <a:moveTo>
                    <a:pt x="84416" y="1679"/>
                  </a:moveTo>
                  <a:lnTo>
                    <a:pt x="84190" y="8883"/>
                  </a:lnTo>
                  <a:lnTo>
                    <a:pt x="274" y="9168"/>
                  </a:lnTo>
                  <a:lnTo>
                    <a:pt x="24" y="1703"/>
                  </a:lnTo>
                  <a:cubicBezTo>
                    <a:pt x="1" y="774"/>
                    <a:pt x="739" y="12"/>
                    <a:pt x="1667" y="12"/>
                  </a:cubicBezTo>
                  <a:lnTo>
                    <a:pt x="82785" y="12"/>
                  </a:lnTo>
                  <a:cubicBezTo>
                    <a:pt x="83701" y="1"/>
                    <a:pt x="84440" y="763"/>
                    <a:pt x="84416" y="1679"/>
                  </a:cubicBez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735;p38"/>
            <p:cNvSpPr/>
            <p:nvPr/>
          </p:nvSpPr>
          <p:spPr>
            <a:xfrm>
              <a:off x="1450175" y="1200575"/>
              <a:ext cx="2097600" cy="1031100"/>
            </a:xfrm>
            <a:custGeom>
              <a:avLst/>
              <a:gdLst/>
              <a:ahLst/>
              <a:cxnLst/>
              <a:rect l="l" t="t" r="r" b="b"/>
              <a:pathLst>
                <a:path w="83904" h="41244" extrusionOk="0">
                  <a:moveTo>
                    <a:pt x="82070" y="5418"/>
                  </a:moveTo>
                  <a:lnTo>
                    <a:pt x="82106" y="5418"/>
                  </a:lnTo>
                  <a:lnTo>
                    <a:pt x="82427" y="893"/>
                  </a:lnTo>
                  <a:cubicBezTo>
                    <a:pt x="82463" y="417"/>
                    <a:pt x="82082" y="1"/>
                    <a:pt x="81606" y="1"/>
                  </a:cubicBezTo>
                  <a:lnTo>
                    <a:pt x="2155" y="1"/>
                  </a:lnTo>
                  <a:cubicBezTo>
                    <a:pt x="1655" y="1"/>
                    <a:pt x="1286" y="417"/>
                    <a:pt x="1334" y="893"/>
                  </a:cubicBezTo>
                  <a:lnTo>
                    <a:pt x="1691" y="5025"/>
                  </a:lnTo>
                  <a:lnTo>
                    <a:pt x="0" y="5013"/>
                  </a:lnTo>
                  <a:lnTo>
                    <a:pt x="1072" y="37196"/>
                  </a:lnTo>
                  <a:cubicBezTo>
                    <a:pt x="1155" y="39303"/>
                    <a:pt x="2882" y="41006"/>
                    <a:pt x="5001" y="41006"/>
                  </a:cubicBezTo>
                  <a:lnTo>
                    <a:pt x="79070" y="41220"/>
                  </a:lnTo>
                  <a:cubicBezTo>
                    <a:pt x="81213" y="41244"/>
                    <a:pt x="82963" y="39529"/>
                    <a:pt x="83023" y="37386"/>
                  </a:cubicBezTo>
                  <a:lnTo>
                    <a:pt x="83904" y="5406"/>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736;p38"/>
            <p:cNvSpPr/>
            <p:nvPr/>
          </p:nvSpPr>
          <p:spPr>
            <a:xfrm>
              <a:off x="1471900" y="1218725"/>
              <a:ext cx="2053850" cy="995400"/>
            </a:xfrm>
            <a:custGeom>
              <a:avLst/>
              <a:gdLst/>
              <a:ahLst/>
              <a:cxnLst/>
              <a:rect l="l" t="t" r="r" b="b"/>
              <a:pathLst>
                <a:path w="82154" h="39816" extrusionOk="0">
                  <a:moveTo>
                    <a:pt x="4382" y="39601"/>
                  </a:moveTo>
                  <a:cubicBezTo>
                    <a:pt x="2560" y="39601"/>
                    <a:pt x="1108" y="38172"/>
                    <a:pt x="1048" y="36374"/>
                  </a:cubicBezTo>
                  <a:lnTo>
                    <a:pt x="0" y="4989"/>
                  </a:lnTo>
                  <a:lnTo>
                    <a:pt x="1715" y="5001"/>
                  </a:lnTo>
                  <a:lnTo>
                    <a:pt x="1298" y="275"/>
                  </a:lnTo>
                  <a:cubicBezTo>
                    <a:pt x="1286" y="179"/>
                    <a:pt x="1322" y="108"/>
                    <a:pt x="1358" y="72"/>
                  </a:cubicBezTo>
                  <a:cubicBezTo>
                    <a:pt x="1382" y="48"/>
                    <a:pt x="1441" y="1"/>
                    <a:pt x="1536" y="1"/>
                  </a:cubicBezTo>
                  <a:lnTo>
                    <a:pt x="80475" y="1"/>
                  </a:lnTo>
                  <a:cubicBezTo>
                    <a:pt x="80558" y="1"/>
                    <a:pt x="80618" y="48"/>
                    <a:pt x="80653" y="72"/>
                  </a:cubicBezTo>
                  <a:cubicBezTo>
                    <a:pt x="80677" y="108"/>
                    <a:pt x="80725" y="167"/>
                    <a:pt x="80713" y="275"/>
                  </a:cubicBezTo>
                  <a:lnTo>
                    <a:pt x="80403" y="5370"/>
                  </a:lnTo>
                  <a:lnTo>
                    <a:pt x="82154" y="5394"/>
                  </a:lnTo>
                  <a:lnTo>
                    <a:pt x="81320" y="36565"/>
                  </a:lnTo>
                  <a:cubicBezTo>
                    <a:pt x="81272" y="38398"/>
                    <a:pt x="79808" y="39815"/>
                    <a:pt x="77986" y="39815"/>
                  </a:cubicBezTo>
                  <a:cubicBezTo>
                    <a:pt x="77974" y="39815"/>
                    <a:pt x="4382" y="39601"/>
                    <a:pt x="4382" y="39601"/>
                  </a:cubicBezTo>
                  <a:close/>
                </a:path>
              </a:pathLst>
            </a:custGeom>
            <a:solidFill>
              <a:srgbClr val="2118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 name="Google Shape;737;p38"/>
            <p:cNvSpPr/>
            <p:nvPr/>
          </p:nvSpPr>
          <p:spPr>
            <a:xfrm>
              <a:off x="1471900" y="1412200"/>
              <a:ext cx="2052650" cy="581650"/>
            </a:xfrm>
            <a:custGeom>
              <a:avLst/>
              <a:gdLst/>
              <a:ahLst/>
              <a:cxnLst/>
              <a:rect l="l" t="t" r="r" b="b"/>
              <a:pathLst>
                <a:path w="82106" h="23266" extrusionOk="0">
                  <a:moveTo>
                    <a:pt x="10704" y="23266"/>
                  </a:moveTo>
                  <a:cubicBezTo>
                    <a:pt x="9811" y="23266"/>
                    <a:pt x="774" y="22301"/>
                    <a:pt x="774" y="22301"/>
                  </a:cubicBezTo>
                  <a:lnTo>
                    <a:pt x="0" y="1251"/>
                  </a:lnTo>
                  <a:cubicBezTo>
                    <a:pt x="0" y="1251"/>
                    <a:pt x="9287" y="310"/>
                    <a:pt x="10276" y="298"/>
                  </a:cubicBezTo>
                  <a:lnTo>
                    <a:pt x="12907" y="287"/>
                  </a:lnTo>
                  <a:lnTo>
                    <a:pt x="60603" y="48"/>
                  </a:lnTo>
                  <a:lnTo>
                    <a:pt x="71236" y="1"/>
                  </a:lnTo>
                  <a:lnTo>
                    <a:pt x="82106" y="1"/>
                  </a:lnTo>
                  <a:lnTo>
                    <a:pt x="81487" y="22694"/>
                  </a:lnTo>
                  <a:cubicBezTo>
                    <a:pt x="81487" y="22694"/>
                    <a:pt x="71986" y="23254"/>
                    <a:pt x="71033" y="23254"/>
                  </a:cubicBezTo>
                  <a:lnTo>
                    <a:pt x="10704" y="23254"/>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 name="Google Shape;738;p38"/>
            <p:cNvSpPr/>
            <p:nvPr/>
          </p:nvSpPr>
          <p:spPr>
            <a:xfrm>
              <a:off x="1574000" y="1437200"/>
              <a:ext cx="1814525" cy="532550"/>
            </a:xfrm>
            <a:custGeom>
              <a:avLst/>
              <a:gdLst/>
              <a:ahLst/>
              <a:cxnLst/>
              <a:rect l="l" t="t" r="r" b="b"/>
              <a:pathLst>
                <a:path w="72581" h="21302" extrusionOk="0">
                  <a:moveTo>
                    <a:pt x="68461" y="20230"/>
                  </a:moveTo>
                  <a:cubicBezTo>
                    <a:pt x="68104" y="20896"/>
                    <a:pt x="67413" y="21301"/>
                    <a:pt x="66675" y="21301"/>
                  </a:cubicBezTo>
                  <a:lnTo>
                    <a:pt x="6882" y="21301"/>
                  </a:lnTo>
                  <a:cubicBezTo>
                    <a:pt x="6203" y="21301"/>
                    <a:pt x="5560" y="20956"/>
                    <a:pt x="5191" y="20361"/>
                  </a:cubicBezTo>
                  <a:cubicBezTo>
                    <a:pt x="3596" y="17872"/>
                    <a:pt x="0" y="10621"/>
                    <a:pt x="4668" y="1394"/>
                  </a:cubicBezTo>
                  <a:cubicBezTo>
                    <a:pt x="5013" y="727"/>
                    <a:pt x="5691" y="311"/>
                    <a:pt x="6453" y="299"/>
                  </a:cubicBezTo>
                  <a:lnTo>
                    <a:pt x="9061" y="287"/>
                  </a:lnTo>
                  <a:lnTo>
                    <a:pt x="35386" y="144"/>
                  </a:lnTo>
                  <a:lnTo>
                    <a:pt x="46673" y="84"/>
                  </a:lnTo>
                  <a:lnTo>
                    <a:pt x="46673" y="84"/>
                  </a:lnTo>
                  <a:lnTo>
                    <a:pt x="56329" y="37"/>
                  </a:lnTo>
                  <a:lnTo>
                    <a:pt x="56329" y="37"/>
                  </a:lnTo>
                  <a:lnTo>
                    <a:pt x="66854" y="1"/>
                  </a:lnTo>
                  <a:cubicBezTo>
                    <a:pt x="67663" y="1"/>
                    <a:pt x="68414" y="501"/>
                    <a:pt x="68735" y="1275"/>
                  </a:cubicBezTo>
                  <a:cubicBezTo>
                    <a:pt x="70021" y="4418"/>
                    <a:pt x="72581" y="12622"/>
                    <a:pt x="68461" y="20230"/>
                  </a:cubicBezTo>
                  <a:close/>
                </a:path>
              </a:pathLst>
            </a:custGeom>
            <a:solidFill>
              <a:srgbClr val="8A70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 name="Google Shape;739;p38"/>
            <p:cNvSpPr/>
            <p:nvPr/>
          </p:nvSpPr>
          <p:spPr>
            <a:xfrm>
              <a:off x="1703475" y="1441675"/>
              <a:ext cx="855500" cy="528075"/>
            </a:xfrm>
            <a:custGeom>
              <a:avLst/>
              <a:gdLst/>
              <a:ahLst/>
              <a:cxnLst/>
              <a:rect l="l" t="t" r="r" b="b"/>
              <a:pathLst>
                <a:path w="34220" h="21123" extrusionOk="0">
                  <a:moveTo>
                    <a:pt x="34219" y="11002"/>
                  </a:moveTo>
                  <a:cubicBezTo>
                    <a:pt x="34219" y="14776"/>
                    <a:pt x="32993" y="18289"/>
                    <a:pt x="30909" y="21122"/>
                  </a:cubicBezTo>
                  <a:lnTo>
                    <a:pt x="3310" y="21122"/>
                  </a:lnTo>
                  <a:cubicBezTo>
                    <a:pt x="1227" y="18289"/>
                    <a:pt x="0" y="14776"/>
                    <a:pt x="0" y="11002"/>
                  </a:cubicBezTo>
                  <a:cubicBezTo>
                    <a:pt x="0" y="6870"/>
                    <a:pt x="1453" y="3084"/>
                    <a:pt x="3894" y="132"/>
                  </a:cubicBezTo>
                  <a:lnTo>
                    <a:pt x="30219" y="1"/>
                  </a:lnTo>
                  <a:cubicBezTo>
                    <a:pt x="32707" y="2977"/>
                    <a:pt x="34219" y="6811"/>
                    <a:pt x="34219" y="11002"/>
                  </a:cubicBezTo>
                  <a:close/>
                </a:path>
              </a:pathLst>
            </a:custGeom>
            <a:solidFill>
              <a:srgbClr val="0C152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 name="Google Shape;740;p38"/>
            <p:cNvSpPr/>
            <p:nvPr/>
          </p:nvSpPr>
          <p:spPr>
            <a:xfrm>
              <a:off x="1931475" y="1516975"/>
              <a:ext cx="399775" cy="399475"/>
            </a:xfrm>
            <a:custGeom>
              <a:avLst/>
              <a:gdLst/>
              <a:ahLst/>
              <a:cxnLst/>
              <a:rect l="l" t="t" r="r" b="b"/>
              <a:pathLst>
                <a:path w="15991" h="15979" extrusionOk="0">
                  <a:moveTo>
                    <a:pt x="9192" y="668"/>
                  </a:moveTo>
                  <a:cubicBezTo>
                    <a:pt x="13240" y="1322"/>
                    <a:pt x="15991" y="5144"/>
                    <a:pt x="15324" y="9192"/>
                  </a:cubicBezTo>
                  <a:cubicBezTo>
                    <a:pt x="14657" y="13241"/>
                    <a:pt x="10847" y="15979"/>
                    <a:pt x="6799" y="15324"/>
                  </a:cubicBezTo>
                  <a:cubicBezTo>
                    <a:pt x="2751" y="14657"/>
                    <a:pt x="1" y="10847"/>
                    <a:pt x="667" y="6799"/>
                  </a:cubicBezTo>
                  <a:cubicBezTo>
                    <a:pt x="1322" y="2751"/>
                    <a:pt x="5144" y="1"/>
                    <a:pt x="9192" y="668"/>
                  </a:cubicBezTo>
                  <a:close/>
                </a:path>
              </a:pathLst>
            </a:custGeom>
            <a:solidFill>
              <a:srgbClr val="CCCAC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 name="Google Shape;741;p38"/>
            <p:cNvSpPr/>
            <p:nvPr/>
          </p:nvSpPr>
          <p:spPr>
            <a:xfrm>
              <a:off x="1955300" y="1540500"/>
              <a:ext cx="351850" cy="352150"/>
            </a:xfrm>
            <a:custGeom>
              <a:avLst/>
              <a:gdLst/>
              <a:ahLst/>
              <a:cxnLst/>
              <a:rect l="l" t="t" r="r" b="b"/>
              <a:pathLst>
                <a:path w="14074" h="14086" extrusionOk="0">
                  <a:moveTo>
                    <a:pt x="7025" y="0"/>
                  </a:moveTo>
                  <a:lnTo>
                    <a:pt x="7037" y="1239"/>
                  </a:lnTo>
                  <a:cubicBezTo>
                    <a:pt x="8180" y="1239"/>
                    <a:pt x="9299" y="1584"/>
                    <a:pt x="10251" y="2203"/>
                  </a:cubicBezTo>
                  <a:lnTo>
                    <a:pt x="10918" y="1179"/>
                  </a:lnTo>
                  <a:cubicBezTo>
                    <a:pt x="9775" y="405"/>
                    <a:pt x="8418" y="0"/>
                    <a:pt x="7037" y="0"/>
                  </a:cubicBezTo>
                  <a:close/>
                  <a:moveTo>
                    <a:pt x="5644" y="155"/>
                  </a:moveTo>
                  <a:cubicBezTo>
                    <a:pt x="4275" y="417"/>
                    <a:pt x="3024" y="1096"/>
                    <a:pt x="2036" y="2084"/>
                  </a:cubicBezTo>
                  <a:lnTo>
                    <a:pt x="2917" y="2953"/>
                  </a:lnTo>
                  <a:cubicBezTo>
                    <a:pt x="3739" y="2132"/>
                    <a:pt x="4763" y="1584"/>
                    <a:pt x="5882" y="1358"/>
                  </a:cubicBezTo>
                  <a:lnTo>
                    <a:pt x="5644" y="155"/>
                  </a:lnTo>
                  <a:close/>
                  <a:moveTo>
                    <a:pt x="11978" y="2060"/>
                  </a:moveTo>
                  <a:lnTo>
                    <a:pt x="11121" y="2941"/>
                  </a:lnTo>
                  <a:cubicBezTo>
                    <a:pt x="11942" y="3751"/>
                    <a:pt x="12502" y="4763"/>
                    <a:pt x="12728" y="5894"/>
                  </a:cubicBezTo>
                  <a:lnTo>
                    <a:pt x="13919" y="5644"/>
                  </a:lnTo>
                  <a:cubicBezTo>
                    <a:pt x="13645" y="4287"/>
                    <a:pt x="12978" y="3036"/>
                    <a:pt x="11978" y="2060"/>
                  </a:cubicBezTo>
                  <a:close/>
                  <a:moveTo>
                    <a:pt x="1179" y="3144"/>
                  </a:moveTo>
                  <a:cubicBezTo>
                    <a:pt x="405" y="4310"/>
                    <a:pt x="0" y="5656"/>
                    <a:pt x="0" y="7061"/>
                  </a:cubicBezTo>
                  <a:lnTo>
                    <a:pt x="1227" y="7049"/>
                  </a:lnTo>
                  <a:cubicBezTo>
                    <a:pt x="1227" y="5894"/>
                    <a:pt x="1560" y="4787"/>
                    <a:pt x="2203" y="3834"/>
                  </a:cubicBezTo>
                  <a:lnTo>
                    <a:pt x="1179" y="3144"/>
                  </a:lnTo>
                  <a:close/>
                  <a:moveTo>
                    <a:pt x="14073" y="7013"/>
                  </a:moveTo>
                  <a:lnTo>
                    <a:pt x="12847" y="7049"/>
                  </a:lnTo>
                  <a:cubicBezTo>
                    <a:pt x="12847" y="8204"/>
                    <a:pt x="12502" y="9323"/>
                    <a:pt x="11859" y="10275"/>
                  </a:cubicBezTo>
                  <a:lnTo>
                    <a:pt x="12883" y="10954"/>
                  </a:lnTo>
                  <a:cubicBezTo>
                    <a:pt x="13657" y="9799"/>
                    <a:pt x="14073" y="8442"/>
                    <a:pt x="14073" y="7049"/>
                  </a:cubicBezTo>
                  <a:lnTo>
                    <a:pt x="14073" y="7013"/>
                  </a:lnTo>
                  <a:close/>
                  <a:moveTo>
                    <a:pt x="1334" y="8192"/>
                  </a:moveTo>
                  <a:lnTo>
                    <a:pt x="131" y="8430"/>
                  </a:lnTo>
                  <a:cubicBezTo>
                    <a:pt x="417" y="9799"/>
                    <a:pt x="1072" y="11049"/>
                    <a:pt x="2072" y="12026"/>
                  </a:cubicBezTo>
                  <a:lnTo>
                    <a:pt x="2929" y="11157"/>
                  </a:lnTo>
                  <a:cubicBezTo>
                    <a:pt x="2108" y="10347"/>
                    <a:pt x="1560" y="9323"/>
                    <a:pt x="1334" y="8192"/>
                  </a:cubicBezTo>
                  <a:close/>
                  <a:moveTo>
                    <a:pt x="11144" y="11145"/>
                  </a:moveTo>
                  <a:cubicBezTo>
                    <a:pt x="10347" y="11966"/>
                    <a:pt x="9311" y="12514"/>
                    <a:pt x="8180" y="12740"/>
                  </a:cubicBezTo>
                  <a:lnTo>
                    <a:pt x="8418" y="13955"/>
                  </a:lnTo>
                  <a:cubicBezTo>
                    <a:pt x="9775" y="13681"/>
                    <a:pt x="11025" y="13014"/>
                    <a:pt x="12002" y="12014"/>
                  </a:cubicBezTo>
                  <a:lnTo>
                    <a:pt x="11144" y="11145"/>
                  </a:lnTo>
                  <a:close/>
                  <a:moveTo>
                    <a:pt x="3810" y="11883"/>
                  </a:moveTo>
                  <a:lnTo>
                    <a:pt x="3120" y="12907"/>
                  </a:lnTo>
                  <a:cubicBezTo>
                    <a:pt x="4286" y="13681"/>
                    <a:pt x="5644" y="14085"/>
                    <a:pt x="7037" y="14085"/>
                  </a:cubicBezTo>
                  <a:lnTo>
                    <a:pt x="7025" y="12847"/>
                  </a:lnTo>
                  <a:cubicBezTo>
                    <a:pt x="5882" y="12847"/>
                    <a:pt x="4763" y="12526"/>
                    <a:pt x="3810" y="11883"/>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 name="Google Shape;742;p38"/>
            <p:cNvSpPr/>
            <p:nvPr/>
          </p:nvSpPr>
          <p:spPr>
            <a:xfrm>
              <a:off x="2073450" y="1659250"/>
              <a:ext cx="115525" cy="115525"/>
            </a:xfrm>
            <a:custGeom>
              <a:avLst/>
              <a:gdLst/>
              <a:ahLst/>
              <a:cxnLst/>
              <a:rect l="l" t="t" r="r" b="b"/>
              <a:pathLst>
                <a:path w="4621" h="4621" extrusionOk="0">
                  <a:moveTo>
                    <a:pt x="4621" y="2311"/>
                  </a:moveTo>
                  <a:cubicBezTo>
                    <a:pt x="4621" y="3585"/>
                    <a:pt x="3597" y="4621"/>
                    <a:pt x="2311" y="4621"/>
                  </a:cubicBezTo>
                  <a:cubicBezTo>
                    <a:pt x="1025" y="4621"/>
                    <a:pt x="1" y="3585"/>
                    <a:pt x="1" y="2311"/>
                  </a:cubicBezTo>
                  <a:cubicBezTo>
                    <a:pt x="1" y="1025"/>
                    <a:pt x="1025" y="1"/>
                    <a:pt x="2311" y="1"/>
                  </a:cubicBezTo>
                  <a:cubicBezTo>
                    <a:pt x="3597" y="1"/>
                    <a:pt x="4621" y="1025"/>
                    <a:pt x="4621" y="2311"/>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 name="Google Shape;743;p38"/>
            <p:cNvSpPr/>
            <p:nvPr/>
          </p:nvSpPr>
          <p:spPr>
            <a:xfrm>
              <a:off x="2104725" y="1690525"/>
              <a:ext cx="53000" cy="53000"/>
            </a:xfrm>
            <a:custGeom>
              <a:avLst/>
              <a:gdLst/>
              <a:ahLst/>
              <a:cxnLst/>
              <a:rect l="l" t="t" r="r" b="b"/>
              <a:pathLst>
                <a:path w="2120" h="2120" extrusionOk="0">
                  <a:moveTo>
                    <a:pt x="2119" y="1060"/>
                  </a:moveTo>
                  <a:cubicBezTo>
                    <a:pt x="2119" y="1643"/>
                    <a:pt x="1643" y="2119"/>
                    <a:pt x="1060" y="2119"/>
                  </a:cubicBezTo>
                  <a:cubicBezTo>
                    <a:pt x="476" y="2119"/>
                    <a:pt x="0" y="1643"/>
                    <a:pt x="0" y="1060"/>
                  </a:cubicBezTo>
                  <a:cubicBezTo>
                    <a:pt x="0" y="476"/>
                    <a:pt x="476" y="0"/>
                    <a:pt x="1060" y="0"/>
                  </a:cubicBezTo>
                  <a:cubicBezTo>
                    <a:pt x="1643" y="0"/>
                    <a:pt x="2119" y="464"/>
                    <a:pt x="2119" y="1060"/>
                  </a:cubicBezTo>
                  <a:close/>
                </a:path>
              </a:pathLst>
            </a:custGeom>
            <a:solidFill>
              <a:srgbClr val="6B6A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 name="Google Shape;744;p38"/>
            <p:cNvSpPr/>
            <p:nvPr/>
          </p:nvSpPr>
          <p:spPr>
            <a:xfrm>
              <a:off x="1946650" y="1731900"/>
              <a:ext cx="96175" cy="128300"/>
            </a:xfrm>
            <a:custGeom>
              <a:avLst/>
              <a:gdLst/>
              <a:ahLst/>
              <a:cxnLst/>
              <a:rect l="l" t="t" r="r" b="b"/>
              <a:pathLst>
                <a:path w="3847" h="5132" extrusionOk="0">
                  <a:moveTo>
                    <a:pt x="2668" y="5132"/>
                  </a:moveTo>
                  <a:lnTo>
                    <a:pt x="3847" y="3691"/>
                  </a:lnTo>
                  <a:cubicBezTo>
                    <a:pt x="3847" y="3691"/>
                    <a:pt x="1918" y="2274"/>
                    <a:pt x="1894" y="0"/>
                  </a:cubicBezTo>
                  <a:lnTo>
                    <a:pt x="13" y="286"/>
                  </a:lnTo>
                  <a:cubicBezTo>
                    <a:pt x="1" y="298"/>
                    <a:pt x="156" y="3000"/>
                    <a:pt x="2668" y="5132"/>
                  </a:cubicBezTo>
                  <a:close/>
                </a:path>
              </a:pathLst>
            </a:custGeom>
            <a:solidFill>
              <a:srgbClr val="9B113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 name="Google Shape;745;p38"/>
            <p:cNvSpPr/>
            <p:nvPr/>
          </p:nvSpPr>
          <p:spPr>
            <a:xfrm>
              <a:off x="2561325" y="1439000"/>
              <a:ext cx="603975" cy="530750"/>
            </a:xfrm>
            <a:custGeom>
              <a:avLst/>
              <a:gdLst/>
              <a:ahLst/>
              <a:cxnLst/>
              <a:rect l="l" t="t" r="r" b="b"/>
              <a:pathLst>
                <a:path w="24159" h="21230" extrusionOk="0">
                  <a:moveTo>
                    <a:pt x="24158" y="11109"/>
                  </a:moveTo>
                  <a:cubicBezTo>
                    <a:pt x="24158" y="15348"/>
                    <a:pt x="21967" y="19086"/>
                    <a:pt x="18669" y="21229"/>
                  </a:cubicBezTo>
                  <a:lnTo>
                    <a:pt x="5489" y="21229"/>
                  </a:lnTo>
                  <a:cubicBezTo>
                    <a:pt x="2191" y="19062"/>
                    <a:pt x="0" y="15348"/>
                    <a:pt x="0" y="11109"/>
                  </a:cubicBezTo>
                  <a:cubicBezTo>
                    <a:pt x="0" y="6180"/>
                    <a:pt x="2965" y="1941"/>
                    <a:pt x="7192" y="48"/>
                  </a:cubicBezTo>
                  <a:lnTo>
                    <a:pt x="7192" y="48"/>
                  </a:lnTo>
                  <a:lnTo>
                    <a:pt x="16848" y="0"/>
                  </a:lnTo>
                  <a:lnTo>
                    <a:pt x="16848" y="0"/>
                  </a:lnTo>
                  <a:cubicBezTo>
                    <a:pt x="21146" y="1858"/>
                    <a:pt x="24158" y="6132"/>
                    <a:pt x="24158" y="11109"/>
                  </a:cubicBezTo>
                  <a:close/>
                </a:path>
              </a:pathLst>
            </a:custGeom>
            <a:solidFill>
              <a:srgbClr val="0C152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 name="Google Shape;746;p38"/>
            <p:cNvSpPr/>
            <p:nvPr/>
          </p:nvSpPr>
          <p:spPr>
            <a:xfrm>
              <a:off x="2663425" y="1516975"/>
              <a:ext cx="399475" cy="399775"/>
            </a:xfrm>
            <a:custGeom>
              <a:avLst/>
              <a:gdLst/>
              <a:ahLst/>
              <a:cxnLst/>
              <a:rect l="l" t="t" r="r" b="b"/>
              <a:pathLst>
                <a:path w="15979" h="15991" extrusionOk="0">
                  <a:moveTo>
                    <a:pt x="9192" y="668"/>
                  </a:moveTo>
                  <a:cubicBezTo>
                    <a:pt x="13240" y="1322"/>
                    <a:pt x="15978" y="5144"/>
                    <a:pt x="15323" y="9192"/>
                  </a:cubicBezTo>
                  <a:cubicBezTo>
                    <a:pt x="14657" y="13241"/>
                    <a:pt x="10847" y="15991"/>
                    <a:pt x="6799" y="15324"/>
                  </a:cubicBezTo>
                  <a:cubicBezTo>
                    <a:pt x="2750" y="14657"/>
                    <a:pt x="0" y="10847"/>
                    <a:pt x="667" y="6799"/>
                  </a:cubicBezTo>
                  <a:cubicBezTo>
                    <a:pt x="1322" y="2751"/>
                    <a:pt x="5144" y="1"/>
                    <a:pt x="9192" y="668"/>
                  </a:cubicBezTo>
                  <a:close/>
                </a:path>
              </a:pathLst>
            </a:custGeom>
            <a:solidFill>
              <a:srgbClr val="CCCAC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 name="Google Shape;747;p38"/>
            <p:cNvSpPr/>
            <p:nvPr/>
          </p:nvSpPr>
          <p:spPr>
            <a:xfrm>
              <a:off x="2687225" y="1540500"/>
              <a:ext cx="351850" cy="352150"/>
            </a:xfrm>
            <a:custGeom>
              <a:avLst/>
              <a:gdLst/>
              <a:ahLst/>
              <a:cxnLst/>
              <a:rect l="l" t="t" r="r" b="b"/>
              <a:pathLst>
                <a:path w="14074" h="14086" extrusionOk="0">
                  <a:moveTo>
                    <a:pt x="7025" y="0"/>
                  </a:moveTo>
                  <a:lnTo>
                    <a:pt x="7037" y="1239"/>
                  </a:lnTo>
                  <a:cubicBezTo>
                    <a:pt x="8180" y="1239"/>
                    <a:pt x="9299" y="1584"/>
                    <a:pt x="10252" y="2203"/>
                  </a:cubicBezTo>
                  <a:lnTo>
                    <a:pt x="10919" y="1179"/>
                  </a:lnTo>
                  <a:cubicBezTo>
                    <a:pt x="9776" y="405"/>
                    <a:pt x="8418" y="0"/>
                    <a:pt x="7037" y="0"/>
                  </a:cubicBezTo>
                  <a:close/>
                  <a:moveTo>
                    <a:pt x="5656" y="155"/>
                  </a:moveTo>
                  <a:cubicBezTo>
                    <a:pt x="4287" y="417"/>
                    <a:pt x="3037" y="1096"/>
                    <a:pt x="2049" y="2084"/>
                  </a:cubicBezTo>
                  <a:lnTo>
                    <a:pt x="2930" y="2953"/>
                  </a:lnTo>
                  <a:cubicBezTo>
                    <a:pt x="3727" y="2132"/>
                    <a:pt x="4763" y="1584"/>
                    <a:pt x="5894" y="1358"/>
                  </a:cubicBezTo>
                  <a:lnTo>
                    <a:pt x="5656" y="155"/>
                  </a:lnTo>
                  <a:close/>
                  <a:moveTo>
                    <a:pt x="11990" y="2060"/>
                  </a:moveTo>
                  <a:lnTo>
                    <a:pt x="11133" y="2941"/>
                  </a:lnTo>
                  <a:cubicBezTo>
                    <a:pt x="11955" y="3751"/>
                    <a:pt x="12514" y="4763"/>
                    <a:pt x="12740" y="5894"/>
                  </a:cubicBezTo>
                  <a:lnTo>
                    <a:pt x="13931" y="5644"/>
                  </a:lnTo>
                  <a:cubicBezTo>
                    <a:pt x="13657" y="4287"/>
                    <a:pt x="12990" y="3036"/>
                    <a:pt x="11990" y="2060"/>
                  </a:cubicBezTo>
                  <a:close/>
                  <a:moveTo>
                    <a:pt x="1167" y="3144"/>
                  </a:moveTo>
                  <a:cubicBezTo>
                    <a:pt x="394" y="4310"/>
                    <a:pt x="1" y="5656"/>
                    <a:pt x="1" y="7061"/>
                  </a:cubicBezTo>
                  <a:lnTo>
                    <a:pt x="1227" y="7049"/>
                  </a:lnTo>
                  <a:cubicBezTo>
                    <a:pt x="1227" y="5894"/>
                    <a:pt x="1560" y="4787"/>
                    <a:pt x="2203" y="3834"/>
                  </a:cubicBezTo>
                  <a:lnTo>
                    <a:pt x="1167" y="3144"/>
                  </a:lnTo>
                  <a:close/>
                  <a:moveTo>
                    <a:pt x="14074" y="7013"/>
                  </a:moveTo>
                  <a:lnTo>
                    <a:pt x="12836" y="7049"/>
                  </a:lnTo>
                  <a:cubicBezTo>
                    <a:pt x="12836" y="8204"/>
                    <a:pt x="12502" y="9323"/>
                    <a:pt x="11859" y="10275"/>
                  </a:cubicBezTo>
                  <a:lnTo>
                    <a:pt x="12883" y="10954"/>
                  </a:lnTo>
                  <a:cubicBezTo>
                    <a:pt x="13657" y="9799"/>
                    <a:pt x="14074" y="8442"/>
                    <a:pt x="14074" y="7049"/>
                  </a:cubicBezTo>
                  <a:lnTo>
                    <a:pt x="14074" y="7013"/>
                  </a:lnTo>
                  <a:close/>
                  <a:moveTo>
                    <a:pt x="1334" y="8192"/>
                  </a:moveTo>
                  <a:lnTo>
                    <a:pt x="132" y="8430"/>
                  </a:lnTo>
                  <a:cubicBezTo>
                    <a:pt x="417" y="9799"/>
                    <a:pt x="1072" y="11049"/>
                    <a:pt x="2060" y="12026"/>
                  </a:cubicBezTo>
                  <a:lnTo>
                    <a:pt x="2930" y="11157"/>
                  </a:lnTo>
                  <a:cubicBezTo>
                    <a:pt x="2108" y="10347"/>
                    <a:pt x="1560" y="9323"/>
                    <a:pt x="1334" y="8192"/>
                  </a:cubicBezTo>
                  <a:close/>
                  <a:moveTo>
                    <a:pt x="11145" y="11145"/>
                  </a:moveTo>
                  <a:cubicBezTo>
                    <a:pt x="10335" y="11966"/>
                    <a:pt x="9311" y="12514"/>
                    <a:pt x="8180" y="12740"/>
                  </a:cubicBezTo>
                  <a:lnTo>
                    <a:pt x="8418" y="13955"/>
                  </a:lnTo>
                  <a:cubicBezTo>
                    <a:pt x="9776" y="13681"/>
                    <a:pt x="11026" y="13014"/>
                    <a:pt x="12002" y="12014"/>
                  </a:cubicBezTo>
                  <a:lnTo>
                    <a:pt x="11145" y="11145"/>
                  </a:lnTo>
                  <a:close/>
                  <a:moveTo>
                    <a:pt x="3823" y="11883"/>
                  </a:moveTo>
                  <a:lnTo>
                    <a:pt x="3132" y="12907"/>
                  </a:lnTo>
                  <a:cubicBezTo>
                    <a:pt x="4299" y="13681"/>
                    <a:pt x="5656" y="14085"/>
                    <a:pt x="7049" y="14085"/>
                  </a:cubicBezTo>
                  <a:lnTo>
                    <a:pt x="7037" y="12847"/>
                  </a:lnTo>
                  <a:cubicBezTo>
                    <a:pt x="5894" y="12847"/>
                    <a:pt x="4775" y="12526"/>
                    <a:pt x="3823" y="11883"/>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748;p38"/>
            <p:cNvSpPr/>
            <p:nvPr/>
          </p:nvSpPr>
          <p:spPr>
            <a:xfrm>
              <a:off x="2805400" y="1659250"/>
              <a:ext cx="115525" cy="115525"/>
            </a:xfrm>
            <a:custGeom>
              <a:avLst/>
              <a:gdLst/>
              <a:ahLst/>
              <a:cxnLst/>
              <a:rect l="l" t="t" r="r" b="b"/>
              <a:pathLst>
                <a:path w="4621" h="4621" extrusionOk="0">
                  <a:moveTo>
                    <a:pt x="4620" y="2311"/>
                  </a:moveTo>
                  <a:cubicBezTo>
                    <a:pt x="4620" y="3585"/>
                    <a:pt x="3584" y="4621"/>
                    <a:pt x="2310" y="4621"/>
                  </a:cubicBezTo>
                  <a:cubicBezTo>
                    <a:pt x="1024" y="4621"/>
                    <a:pt x="0" y="3585"/>
                    <a:pt x="0" y="2311"/>
                  </a:cubicBezTo>
                  <a:cubicBezTo>
                    <a:pt x="0" y="1025"/>
                    <a:pt x="1024" y="1"/>
                    <a:pt x="2310" y="1"/>
                  </a:cubicBezTo>
                  <a:cubicBezTo>
                    <a:pt x="3584" y="1"/>
                    <a:pt x="4620" y="1025"/>
                    <a:pt x="4620" y="2311"/>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 name="Google Shape;749;p38"/>
            <p:cNvSpPr/>
            <p:nvPr/>
          </p:nvSpPr>
          <p:spPr>
            <a:xfrm>
              <a:off x="2836650" y="1690525"/>
              <a:ext cx="53000" cy="53000"/>
            </a:xfrm>
            <a:custGeom>
              <a:avLst/>
              <a:gdLst/>
              <a:ahLst/>
              <a:cxnLst/>
              <a:rect l="l" t="t" r="r" b="b"/>
              <a:pathLst>
                <a:path w="2120" h="2120" extrusionOk="0">
                  <a:moveTo>
                    <a:pt x="2120" y="1060"/>
                  </a:moveTo>
                  <a:cubicBezTo>
                    <a:pt x="2120" y="1643"/>
                    <a:pt x="1644" y="2119"/>
                    <a:pt x="1060" y="2119"/>
                  </a:cubicBezTo>
                  <a:cubicBezTo>
                    <a:pt x="477" y="2119"/>
                    <a:pt x="1" y="1643"/>
                    <a:pt x="1" y="1060"/>
                  </a:cubicBezTo>
                  <a:cubicBezTo>
                    <a:pt x="1" y="476"/>
                    <a:pt x="477" y="0"/>
                    <a:pt x="1060" y="0"/>
                  </a:cubicBezTo>
                  <a:cubicBezTo>
                    <a:pt x="1644" y="0"/>
                    <a:pt x="2120" y="464"/>
                    <a:pt x="2120" y="1060"/>
                  </a:cubicBezTo>
                  <a:close/>
                </a:path>
              </a:pathLst>
            </a:custGeom>
            <a:solidFill>
              <a:srgbClr val="6B6A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 name="Google Shape;750;p38"/>
            <p:cNvSpPr/>
            <p:nvPr/>
          </p:nvSpPr>
          <p:spPr>
            <a:xfrm>
              <a:off x="1473100" y="1193125"/>
              <a:ext cx="2043725" cy="122075"/>
            </a:xfrm>
            <a:custGeom>
              <a:avLst/>
              <a:gdLst/>
              <a:ahLst/>
              <a:cxnLst/>
              <a:rect l="l" t="t" r="r" b="b"/>
              <a:pathLst>
                <a:path w="81749" h="4883" extrusionOk="0">
                  <a:moveTo>
                    <a:pt x="726" y="4882"/>
                  </a:moveTo>
                  <a:lnTo>
                    <a:pt x="357" y="1334"/>
                  </a:lnTo>
                  <a:cubicBezTo>
                    <a:pt x="298" y="787"/>
                    <a:pt x="726" y="299"/>
                    <a:pt x="1298" y="299"/>
                  </a:cubicBezTo>
                  <a:lnTo>
                    <a:pt x="80772" y="299"/>
                  </a:lnTo>
                  <a:cubicBezTo>
                    <a:pt x="81248" y="299"/>
                    <a:pt x="81617" y="703"/>
                    <a:pt x="81570" y="1180"/>
                  </a:cubicBezTo>
                  <a:lnTo>
                    <a:pt x="81260" y="4597"/>
                  </a:lnTo>
                  <a:lnTo>
                    <a:pt x="81427" y="4597"/>
                  </a:lnTo>
                  <a:lnTo>
                    <a:pt x="81725" y="834"/>
                  </a:lnTo>
                  <a:cubicBezTo>
                    <a:pt x="81748" y="382"/>
                    <a:pt x="81403" y="1"/>
                    <a:pt x="80951" y="1"/>
                  </a:cubicBezTo>
                  <a:lnTo>
                    <a:pt x="1262" y="1"/>
                  </a:lnTo>
                  <a:cubicBezTo>
                    <a:pt x="548" y="1"/>
                    <a:pt x="0" y="608"/>
                    <a:pt x="71" y="1322"/>
                  </a:cubicBezTo>
                  <a:lnTo>
                    <a:pt x="429" y="4882"/>
                  </a:lnTo>
                  <a:lnTo>
                    <a:pt x="726" y="4882"/>
                  </a:lnTo>
                  <a:close/>
                </a:path>
              </a:pathLst>
            </a:custGeom>
            <a:solidFill>
              <a:srgbClr val="2118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 name="Google Shape;751;p38"/>
            <p:cNvSpPr/>
            <p:nvPr/>
          </p:nvSpPr>
          <p:spPr>
            <a:xfrm>
              <a:off x="2059775" y="1414000"/>
              <a:ext cx="881375" cy="579850"/>
            </a:xfrm>
            <a:custGeom>
              <a:avLst/>
              <a:gdLst/>
              <a:ahLst/>
              <a:cxnLst/>
              <a:rect l="l" t="t" r="r" b="b"/>
              <a:pathLst>
                <a:path w="35255" h="23194" extrusionOk="0">
                  <a:moveTo>
                    <a:pt x="0" y="96"/>
                  </a:moveTo>
                  <a:lnTo>
                    <a:pt x="1310" y="23194"/>
                  </a:lnTo>
                  <a:lnTo>
                    <a:pt x="34481" y="23194"/>
                  </a:lnTo>
                  <a:lnTo>
                    <a:pt x="35255" y="0"/>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 name="Google Shape;752;p38"/>
            <p:cNvSpPr/>
            <p:nvPr/>
          </p:nvSpPr>
          <p:spPr>
            <a:xfrm>
              <a:off x="2135075" y="1444650"/>
              <a:ext cx="743575" cy="525400"/>
            </a:xfrm>
            <a:custGeom>
              <a:avLst/>
              <a:gdLst/>
              <a:ahLst/>
              <a:cxnLst/>
              <a:rect l="l" t="t" r="r" b="b"/>
              <a:pathLst>
                <a:path w="29743" h="21016" extrusionOk="0">
                  <a:moveTo>
                    <a:pt x="2060" y="21003"/>
                  </a:moveTo>
                  <a:lnTo>
                    <a:pt x="27825" y="20848"/>
                  </a:lnTo>
                  <a:cubicBezTo>
                    <a:pt x="28373" y="20848"/>
                    <a:pt x="28837" y="20444"/>
                    <a:pt x="28849" y="19944"/>
                  </a:cubicBezTo>
                  <a:lnTo>
                    <a:pt x="29719" y="977"/>
                  </a:lnTo>
                  <a:cubicBezTo>
                    <a:pt x="29742" y="441"/>
                    <a:pt x="29266" y="1"/>
                    <a:pt x="28671" y="1"/>
                  </a:cubicBezTo>
                  <a:lnTo>
                    <a:pt x="1072" y="1"/>
                  </a:lnTo>
                  <a:cubicBezTo>
                    <a:pt x="477" y="1"/>
                    <a:pt x="1" y="441"/>
                    <a:pt x="24" y="989"/>
                  </a:cubicBezTo>
                  <a:lnTo>
                    <a:pt x="1024" y="20098"/>
                  </a:lnTo>
                  <a:cubicBezTo>
                    <a:pt x="1048" y="20610"/>
                    <a:pt x="1513" y="21015"/>
                    <a:pt x="2060" y="21003"/>
                  </a:cubicBezTo>
                  <a:close/>
                </a:path>
              </a:pathLst>
            </a:custGeom>
            <a:solidFill>
              <a:srgbClr val="2118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 name="Google Shape;753;p38"/>
            <p:cNvSpPr/>
            <p:nvPr/>
          </p:nvSpPr>
          <p:spPr>
            <a:xfrm>
              <a:off x="2145800" y="1451800"/>
              <a:ext cx="723025" cy="510800"/>
            </a:xfrm>
            <a:custGeom>
              <a:avLst/>
              <a:gdLst/>
              <a:ahLst/>
              <a:cxnLst/>
              <a:rect l="l" t="t" r="r" b="b"/>
              <a:pathLst>
                <a:path w="28921" h="20432" extrusionOk="0">
                  <a:moveTo>
                    <a:pt x="28897" y="965"/>
                  </a:moveTo>
                  <a:lnTo>
                    <a:pt x="28813" y="2882"/>
                  </a:lnTo>
                  <a:lnTo>
                    <a:pt x="28813" y="2882"/>
                  </a:lnTo>
                  <a:lnTo>
                    <a:pt x="28539" y="8763"/>
                  </a:lnTo>
                  <a:lnTo>
                    <a:pt x="28147" y="17562"/>
                  </a:lnTo>
                  <a:lnTo>
                    <a:pt x="28051" y="19408"/>
                  </a:lnTo>
                  <a:cubicBezTo>
                    <a:pt x="28016" y="19896"/>
                    <a:pt x="27587" y="20277"/>
                    <a:pt x="27051" y="20277"/>
                  </a:cubicBezTo>
                  <a:lnTo>
                    <a:pt x="2000" y="20431"/>
                  </a:lnTo>
                  <a:cubicBezTo>
                    <a:pt x="1465" y="20431"/>
                    <a:pt x="1012" y="20039"/>
                    <a:pt x="988" y="19550"/>
                  </a:cubicBezTo>
                  <a:lnTo>
                    <a:pt x="917" y="18038"/>
                  </a:lnTo>
                  <a:lnTo>
                    <a:pt x="476" y="9347"/>
                  </a:lnTo>
                  <a:lnTo>
                    <a:pt x="131" y="2882"/>
                  </a:lnTo>
                  <a:lnTo>
                    <a:pt x="24" y="965"/>
                  </a:lnTo>
                  <a:cubicBezTo>
                    <a:pt x="0" y="441"/>
                    <a:pt x="453" y="0"/>
                    <a:pt x="1036" y="0"/>
                  </a:cubicBezTo>
                  <a:lnTo>
                    <a:pt x="27897" y="0"/>
                  </a:lnTo>
                  <a:cubicBezTo>
                    <a:pt x="28456" y="0"/>
                    <a:pt x="28920" y="441"/>
                    <a:pt x="28897" y="965"/>
                  </a:cubicBezTo>
                  <a:close/>
                </a:path>
              </a:pathLst>
            </a:custGeom>
            <a:solidFill>
              <a:srgbClr val="EAE5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 name="Google Shape;754;p38"/>
            <p:cNvSpPr/>
            <p:nvPr/>
          </p:nvSpPr>
          <p:spPr>
            <a:xfrm>
              <a:off x="2452075" y="1414600"/>
              <a:ext cx="411100" cy="20550"/>
            </a:xfrm>
            <a:custGeom>
              <a:avLst/>
              <a:gdLst/>
              <a:ahLst/>
              <a:cxnLst/>
              <a:rect l="l" t="t" r="r" b="b"/>
              <a:pathLst>
                <a:path w="16444" h="822" extrusionOk="0">
                  <a:moveTo>
                    <a:pt x="203" y="83"/>
                  </a:moveTo>
                  <a:lnTo>
                    <a:pt x="1" y="822"/>
                  </a:lnTo>
                  <a:lnTo>
                    <a:pt x="16098" y="691"/>
                  </a:lnTo>
                  <a:lnTo>
                    <a:pt x="16443" y="0"/>
                  </a:lnTo>
                  <a:close/>
                </a:path>
              </a:pathLst>
            </a:custGeom>
            <a:solidFill>
              <a:srgbClr val="CECED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 name="Google Shape;755;p38"/>
            <p:cNvSpPr/>
            <p:nvPr/>
          </p:nvSpPr>
          <p:spPr>
            <a:xfrm>
              <a:off x="2144900" y="1451800"/>
              <a:ext cx="723925" cy="236050"/>
            </a:xfrm>
            <a:custGeom>
              <a:avLst/>
              <a:gdLst/>
              <a:ahLst/>
              <a:cxnLst/>
              <a:rect l="l" t="t" r="r" b="b"/>
              <a:pathLst>
                <a:path w="28957" h="9442" extrusionOk="0">
                  <a:moveTo>
                    <a:pt x="28933" y="965"/>
                  </a:moveTo>
                  <a:lnTo>
                    <a:pt x="28849" y="2882"/>
                  </a:lnTo>
                  <a:lnTo>
                    <a:pt x="28849" y="2882"/>
                  </a:lnTo>
                  <a:lnTo>
                    <a:pt x="28575" y="8763"/>
                  </a:lnTo>
                  <a:lnTo>
                    <a:pt x="512" y="9442"/>
                  </a:lnTo>
                  <a:lnTo>
                    <a:pt x="477" y="9347"/>
                  </a:lnTo>
                  <a:lnTo>
                    <a:pt x="143" y="2882"/>
                  </a:lnTo>
                  <a:lnTo>
                    <a:pt x="36" y="965"/>
                  </a:lnTo>
                  <a:cubicBezTo>
                    <a:pt x="0" y="441"/>
                    <a:pt x="465" y="0"/>
                    <a:pt x="1048" y="0"/>
                  </a:cubicBezTo>
                  <a:lnTo>
                    <a:pt x="27909" y="0"/>
                  </a:lnTo>
                  <a:cubicBezTo>
                    <a:pt x="28492" y="0"/>
                    <a:pt x="28956" y="441"/>
                    <a:pt x="28933" y="965"/>
                  </a:cubicBezTo>
                  <a:close/>
                </a:path>
              </a:pathLst>
            </a:custGeom>
            <a:solidFill>
              <a:srgbClr val="DB450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756;p38"/>
            <p:cNvSpPr/>
            <p:nvPr/>
          </p:nvSpPr>
          <p:spPr>
            <a:xfrm>
              <a:off x="1490950" y="1970025"/>
              <a:ext cx="2018125" cy="23825"/>
            </a:xfrm>
            <a:custGeom>
              <a:avLst/>
              <a:gdLst/>
              <a:ahLst/>
              <a:cxnLst/>
              <a:rect l="l" t="t" r="r" b="b"/>
              <a:pathLst>
                <a:path w="80725" h="953" extrusionOk="0">
                  <a:moveTo>
                    <a:pt x="0" y="953"/>
                  </a:moveTo>
                  <a:lnTo>
                    <a:pt x="80713" y="953"/>
                  </a:lnTo>
                  <a:lnTo>
                    <a:pt x="80725" y="405"/>
                  </a:lnTo>
                  <a:lnTo>
                    <a:pt x="0" y="0"/>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 name="Google Shape;757;p38"/>
            <p:cNvSpPr/>
            <p:nvPr/>
          </p:nvSpPr>
          <p:spPr>
            <a:xfrm>
              <a:off x="1471600" y="1412500"/>
              <a:ext cx="2052950" cy="31275"/>
            </a:xfrm>
            <a:custGeom>
              <a:avLst/>
              <a:gdLst/>
              <a:ahLst/>
              <a:cxnLst/>
              <a:rect l="l" t="t" r="r" b="b"/>
              <a:pathLst>
                <a:path w="82118" h="1251" extrusionOk="0">
                  <a:moveTo>
                    <a:pt x="1" y="1251"/>
                  </a:moveTo>
                  <a:lnTo>
                    <a:pt x="81963" y="1037"/>
                  </a:lnTo>
                  <a:lnTo>
                    <a:pt x="82118" y="1"/>
                  </a:lnTo>
                  <a:lnTo>
                    <a:pt x="108" y="215"/>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8" name="Google Shape;758;p38"/>
          <p:cNvSpPr txBox="1">
            <a:spLocks noGrp="1"/>
          </p:cNvSpPr>
          <p:nvPr>
            <p:ph type="subTitle" idx="1"/>
          </p:nvPr>
        </p:nvSpPr>
        <p:spPr>
          <a:xfrm>
            <a:off x="854821" y="1210927"/>
            <a:ext cx="4277471" cy="2348958"/>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b="1" i="0" dirty="0">
                <a:solidFill>
                  <a:srgbClr val="EAE5C4"/>
                </a:solidFill>
                <a:effectLst/>
                <a:latin typeface="Arial" panose="020B0604020202020204" pitchFamily="34" charset="0"/>
              </a:rPr>
              <a:t>NTSC </a:t>
            </a:r>
          </a:p>
          <a:p>
            <a:pPr marL="285750" lvl="0" indent="-285750" algn="l" rtl="0">
              <a:spcBef>
                <a:spcPts val="0"/>
              </a:spcBef>
              <a:spcAft>
                <a:spcPts val="0"/>
              </a:spcAft>
              <a:buFont typeface="Arial" panose="020B0604020202020204" pitchFamily="34" charset="0"/>
              <a:buChar char="•"/>
            </a:pPr>
            <a:r>
              <a:rPr lang="en-US" i="0" dirty="0">
                <a:solidFill>
                  <a:srgbClr val="EAE5C4"/>
                </a:solidFill>
                <a:effectLst/>
                <a:latin typeface="Arial" panose="020B0604020202020204" pitchFamily="34" charset="0"/>
              </a:rPr>
              <a:t>National Television Standards Committee</a:t>
            </a:r>
          </a:p>
          <a:p>
            <a:pPr marL="285750" lvl="0" indent="-285750" algn="l" rtl="0">
              <a:spcBef>
                <a:spcPts val="0"/>
              </a:spcBef>
              <a:spcAft>
                <a:spcPts val="0"/>
              </a:spcAft>
              <a:buFont typeface="Arial" panose="020B0604020202020204" pitchFamily="34" charset="0"/>
              <a:buChar char="•"/>
            </a:pPr>
            <a:r>
              <a:rPr lang="en-US" dirty="0">
                <a:solidFill>
                  <a:srgbClr val="EAE5C4"/>
                </a:solidFill>
                <a:latin typeface="Arial" panose="020B0604020202020204" pitchFamily="34" charset="0"/>
              </a:rPr>
              <a:t>USA</a:t>
            </a:r>
          </a:p>
          <a:p>
            <a:pPr marL="285750" lvl="0" indent="-285750" algn="l" rtl="0">
              <a:spcBef>
                <a:spcPts val="0"/>
              </a:spcBef>
              <a:spcAft>
                <a:spcPts val="0"/>
              </a:spcAft>
              <a:buFont typeface="Arial" panose="020B0604020202020204" pitchFamily="34" charset="0"/>
              <a:buChar char="•"/>
            </a:pPr>
            <a:r>
              <a:rPr lang="en-US" i="0" dirty="0">
                <a:solidFill>
                  <a:srgbClr val="EAE5C4"/>
                </a:solidFill>
                <a:effectLst/>
                <a:latin typeface="Arial" panose="020B0604020202020204" pitchFamily="34" charset="0"/>
              </a:rPr>
              <a:t>30fps (60 interlaced)</a:t>
            </a:r>
          </a:p>
          <a:p>
            <a:pPr marL="0" lvl="0" indent="0" algn="l" rtl="0">
              <a:spcBef>
                <a:spcPts val="0"/>
              </a:spcBef>
              <a:spcAft>
                <a:spcPts val="0"/>
              </a:spcAft>
              <a:buNone/>
            </a:pPr>
            <a:endParaRPr lang="en-US" b="1" i="0" dirty="0">
              <a:solidFill>
                <a:srgbClr val="EAE5C4"/>
              </a:solidFill>
              <a:effectLst/>
              <a:latin typeface="Arial" panose="020B0604020202020204" pitchFamily="34" charset="0"/>
            </a:endParaRPr>
          </a:p>
          <a:p>
            <a:pPr marL="0" lvl="0" indent="0" algn="l" rtl="0">
              <a:spcBef>
                <a:spcPts val="0"/>
              </a:spcBef>
              <a:spcAft>
                <a:spcPts val="0"/>
              </a:spcAft>
              <a:buNone/>
            </a:pPr>
            <a:r>
              <a:rPr lang="en-US" b="1" i="0" dirty="0">
                <a:solidFill>
                  <a:srgbClr val="EAE5C4"/>
                </a:solidFill>
                <a:effectLst/>
                <a:latin typeface="Arial" panose="020B0604020202020204" pitchFamily="34" charset="0"/>
              </a:rPr>
              <a:t>PAL </a:t>
            </a:r>
            <a:endParaRPr lang="en-US" b="1" dirty="0">
              <a:solidFill>
                <a:srgbClr val="EAE5C4"/>
              </a:solidFill>
              <a:latin typeface="Arial" panose="020B0604020202020204" pitchFamily="34" charset="0"/>
            </a:endParaRPr>
          </a:p>
          <a:p>
            <a:pPr marL="285750" lvl="0" indent="-285750" algn="l" rtl="0">
              <a:spcBef>
                <a:spcPts val="0"/>
              </a:spcBef>
              <a:spcAft>
                <a:spcPts val="0"/>
              </a:spcAft>
              <a:buFont typeface="Arial" panose="020B0604020202020204" pitchFamily="34" charset="0"/>
              <a:buChar char="•"/>
            </a:pPr>
            <a:r>
              <a:rPr lang="en-US" i="0" dirty="0">
                <a:solidFill>
                  <a:srgbClr val="EAE5C4"/>
                </a:solidFill>
                <a:effectLst/>
                <a:latin typeface="Arial" panose="020B0604020202020204" pitchFamily="34" charset="0"/>
              </a:rPr>
              <a:t>Phase Alternating Line</a:t>
            </a:r>
          </a:p>
          <a:p>
            <a:pPr marL="285750" lvl="0" indent="-285750" algn="l" rtl="0">
              <a:spcBef>
                <a:spcPts val="0"/>
              </a:spcBef>
              <a:spcAft>
                <a:spcPts val="0"/>
              </a:spcAft>
              <a:buFont typeface="Arial" panose="020B0604020202020204" pitchFamily="34" charset="0"/>
              <a:buChar char="•"/>
            </a:pPr>
            <a:r>
              <a:rPr lang="en-US" dirty="0">
                <a:solidFill>
                  <a:srgbClr val="EAE5C4"/>
                </a:solidFill>
                <a:latin typeface="Arial" panose="020B0604020202020204" pitchFamily="34" charset="0"/>
              </a:rPr>
              <a:t>Europe, Australia, Asia</a:t>
            </a:r>
          </a:p>
          <a:p>
            <a:pPr marL="285750" lvl="0" indent="-285750" algn="l" rtl="0">
              <a:spcBef>
                <a:spcPts val="0"/>
              </a:spcBef>
              <a:spcAft>
                <a:spcPts val="0"/>
              </a:spcAft>
              <a:buFont typeface="Arial" panose="020B0604020202020204" pitchFamily="34" charset="0"/>
              <a:buChar char="•"/>
            </a:pPr>
            <a:r>
              <a:rPr lang="en-US" i="0" dirty="0">
                <a:solidFill>
                  <a:srgbClr val="EAE5C4"/>
                </a:solidFill>
                <a:effectLst/>
                <a:latin typeface="Arial" panose="020B0604020202020204" pitchFamily="34" charset="0"/>
              </a:rPr>
              <a:t>2</a:t>
            </a:r>
            <a:r>
              <a:rPr lang="en-US" dirty="0">
                <a:solidFill>
                  <a:srgbClr val="EAE5C4"/>
                </a:solidFill>
                <a:latin typeface="Arial" panose="020B0604020202020204" pitchFamily="34" charset="0"/>
              </a:rPr>
              <a:t>5fps</a:t>
            </a:r>
            <a:endParaRPr lang="en-US" i="0" dirty="0">
              <a:solidFill>
                <a:srgbClr val="EAE5C4"/>
              </a:solidFill>
              <a:effectLst/>
              <a:latin typeface="Arial" panose="020B0604020202020204" pitchFamily="34" charset="0"/>
            </a:endParaRPr>
          </a:p>
        </p:txBody>
      </p:sp>
      <p:grpSp>
        <p:nvGrpSpPr>
          <p:cNvPr id="145" name="Google Shape;766;p39">
            <a:extLst>
              <a:ext uri="{FF2B5EF4-FFF2-40B4-BE49-F238E27FC236}">
                <a16:creationId xmlns:a16="http://schemas.microsoft.com/office/drawing/2014/main" id="{01072482-F258-4D29-B563-FD21070F54CC}"/>
              </a:ext>
            </a:extLst>
          </p:cNvPr>
          <p:cNvGrpSpPr/>
          <p:nvPr/>
        </p:nvGrpSpPr>
        <p:grpSpPr>
          <a:xfrm>
            <a:off x="290802" y="183318"/>
            <a:ext cx="722450" cy="158692"/>
            <a:chOff x="2028225" y="1461925"/>
            <a:chExt cx="1132900" cy="248850"/>
          </a:xfrm>
        </p:grpSpPr>
        <p:sp>
          <p:nvSpPr>
            <p:cNvPr id="146" name="Google Shape;767;p39">
              <a:extLst>
                <a:ext uri="{FF2B5EF4-FFF2-40B4-BE49-F238E27FC236}">
                  <a16:creationId xmlns:a16="http://schemas.microsoft.com/office/drawing/2014/main" id="{E9F486BB-54E1-496D-8284-8FA5A752CA40}"/>
                </a:ext>
              </a:extLst>
            </p:cNvPr>
            <p:cNvSpPr/>
            <p:nvPr/>
          </p:nvSpPr>
          <p:spPr>
            <a:xfrm>
              <a:off x="2028225" y="1462225"/>
              <a:ext cx="189625" cy="247675"/>
            </a:xfrm>
            <a:custGeom>
              <a:avLst/>
              <a:gdLst/>
              <a:ahLst/>
              <a:cxnLst/>
              <a:rect l="l" t="t" r="r" b="b"/>
              <a:pathLst>
                <a:path w="7585" h="9907" extrusionOk="0">
                  <a:moveTo>
                    <a:pt x="5310" y="1429"/>
                  </a:moveTo>
                  <a:lnTo>
                    <a:pt x="5310" y="2119"/>
                  </a:lnTo>
                  <a:lnTo>
                    <a:pt x="6072" y="2119"/>
                  </a:lnTo>
                  <a:lnTo>
                    <a:pt x="6072" y="3536"/>
                  </a:lnTo>
                  <a:lnTo>
                    <a:pt x="5310" y="3536"/>
                  </a:lnTo>
                  <a:lnTo>
                    <a:pt x="5310" y="4251"/>
                  </a:lnTo>
                  <a:lnTo>
                    <a:pt x="1512" y="4251"/>
                  </a:lnTo>
                  <a:lnTo>
                    <a:pt x="1512" y="1429"/>
                  </a:lnTo>
                  <a:close/>
                  <a:moveTo>
                    <a:pt x="0" y="0"/>
                  </a:moveTo>
                  <a:lnTo>
                    <a:pt x="0" y="9906"/>
                  </a:lnTo>
                  <a:lnTo>
                    <a:pt x="1512" y="9906"/>
                  </a:lnTo>
                  <a:lnTo>
                    <a:pt x="1512" y="5679"/>
                  </a:lnTo>
                  <a:lnTo>
                    <a:pt x="6072" y="5679"/>
                  </a:lnTo>
                  <a:lnTo>
                    <a:pt x="6072" y="4965"/>
                  </a:lnTo>
                  <a:lnTo>
                    <a:pt x="6834" y="4965"/>
                  </a:lnTo>
                  <a:lnTo>
                    <a:pt x="6834" y="4251"/>
                  </a:lnTo>
                  <a:lnTo>
                    <a:pt x="7584" y="4251"/>
                  </a:lnTo>
                  <a:lnTo>
                    <a:pt x="7584" y="1429"/>
                  </a:lnTo>
                  <a:lnTo>
                    <a:pt x="6834" y="1429"/>
                  </a:lnTo>
                  <a:lnTo>
                    <a:pt x="6834" y="714"/>
                  </a:lnTo>
                  <a:lnTo>
                    <a:pt x="6072" y="714"/>
                  </a:lnTo>
                  <a:lnTo>
                    <a:pt x="6072" y="0"/>
                  </a:lnTo>
                  <a:close/>
                </a:path>
              </a:pathLst>
            </a:custGeom>
            <a:solidFill>
              <a:srgbClr val="FF00FF">
                <a:alpha val="240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768;p39">
              <a:extLst>
                <a:ext uri="{FF2B5EF4-FFF2-40B4-BE49-F238E27FC236}">
                  <a16:creationId xmlns:a16="http://schemas.microsoft.com/office/drawing/2014/main" id="{FCDDB8A3-91CB-47D0-8742-2471A4F4B803}"/>
                </a:ext>
              </a:extLst>
            </p:cNvPr>
            <p:cNvSpPr/>
            <p:nvPr/>
          </p:nvSpPr>
          <p:spPr>
            <a:xfrm>
              <a:off x="2255025" y="1462500"/>
              <a:ext cx="189925" cy="247675"/>
            </a:xfrm>
            <a:custGeom>
              <a:avLst/>
              <a:gdLst/>
              <a:ahLst/>
              <a:cxnLst/>
              <a:rect l="l" t="t" r="r" b="b"/>
              <a:pathLst>
                <a:path w="7597" h="9907" extrusionOk="0">
                  <a:moveTo>
                    <a:pt x="1" y="1"/>
                  </a:moveTo>
                  <a:lnTo>
                    <a:pt x="1" y="9907"/>
                  </a:lnTo>
                  <a:lnTo>
                    <a:pt x="7597" y="9907"/>
                  </a:lnTo>
                  <a:lnTo>
                    <a:pt x="7597" y="8502"/>
                  </a:lnTo>
                  <a:lnTo>
                    <a:pt x="1525" y="8502"/>
                  </a:lnTo>
                  <a:lnTo>
                    <a:pt x="1525" y="1"/>
                  </a:lnTo>
                  <a:close/>
                </a:path>
              </a:pathLst>
            </a:custGeom>
            <a:solidFill>
              <a:srgbClr val="FF00FF">
                <a:alpha val="240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769;p39">
              <a:extLst>
                <a:ext uri="{FF2B5EF4-FFF2-40B4-BE49-F238E27FC236}">
                  <a16:creationId xmlns:a16="http://schemas.microsoft.com/office/drawing/2014/main" id="{B6A17C38-5AFF-42C4-A271-0E91902C48CB}"/>
                </a:ext>
              </a:extLst>
            </p:cNvPr>
            <p:cNvSpPr/>
            <p:nvPr/>
          </p:nvSpPr>
          <p:spPr>
            <a:xfrm>
              <a:off x="2482150" y="1461925"/>
              <a:ext cx="189625" cy="248850"/>
            </a:xfrm>
            <a:custGeom>
              <a:avLst/>
              <a:gdLst/>
              <a:ahLst/>
              <a:cxnLst/>
              <a:rect l="l" t="t" r="r" b="b"/>
              <a:pathLst>
                <a:path w="7585" h="9954" extrusionOk="0">
                  <a:moveTo>
                    <a:pt x="4548" y="2119"/>
                  </a:moveTo>
                  <a:lnTo>
                    <a:pt x="4548" y="2834"/>
                  </a:lnTo>
                  <a:lnTo>
                    <a:pt x="5310" y="2834"/>
                  </a:lnTo>
                  <a:lnTo>
                    <a:pt x="5310" y="3548"/>
                  </a:lnTo>
                  <a:lnTo>
                    <a:pt x="6072" y="3548"/>
                  </a:lnTo>
                  <a:lnTo>
                    <a:pt x="6072" y="5679"/>
                  </a:lnTo>
                  <a:lnTo>
                    <a:pt x="1512" y="5679"/>
                  </a:lnTo>
                  <a:lnTo>
                    <a:pt x="1512" y="3548"/>
                  </a:lnTo>
                  <a:lnTo>
                    <a:pt x="2274" y="3548"/>
                  </a:lnTo>
                  <a:lnTo>
                    <a:pt x="2274" y="2834"/>
                  </a:lnTo>
                  <a:lnTo>
                    <a:pt x="3036" y="2834"/>
                  </a:lnTo>
                  <a:lnTo>
                    <a:pt x="3036" y="2119"/>
                  </a:lnTo>
                  <a:close/>
                  <a:moveTo>
                    <a:pt x="3036" y="0"/>
                  </a:moveTo>
                  <a:lnTo>
                    <a:pt x="3036" y="726"/>
                  </a:lnTo>
                  <a:lnTo>
                    <a:pt x="2274" y="726"/>
                  </a:lnTo>
                  <a:lnTo>
                    <a:pt x="2274" y="1441"/>
                  </a:lnTo>
                  <a:lnTo>
                    <a:pt x="1512" y="1441"/>
                  </a:lnTo>
                  <a:lnTo>
                    <a:pt x="1512" y="2131"/>
                  </a:lnTo>
                  <a:lnTo>
                    <a:pt x="750" y="2131"/>
                  </a:lnTo>
                  <a:lnTo>
                    <a:pt x="750" y="2846"/>
                  </a:lnTo>
                  <a:lnTo>
                    <a:pt x="0" y="2846"/>
                  </a:lnTo>
                  <a:lnTo>
                    <a:pt x="0" y="9930"/>
                  </a:lnTo>
                  <a:lnTo>
                    <a:pt x="1512" y="9930"/>
                  </a:lnTo>
                  <a:lnTo>
                    <a:pt x="1512" y="7120"/>
                  </a:lnTo>
                  <a:lnTo>
                    <a:pt x="6072" y="7120"/>
                  </a:lnTo>
                  <a:lnTo>
                    <a:pt x="6072" y="9954"/>
                  </a:lnTo>
                  <a:lnTo>
                    <a:pt x="7585" y="9954"/>
                  </a:lnTo>
                  <a:lnTo>
                    <a:pt x="7585" y="2870"/>
                  </a:lnTo>
                  <a:lnTo>
                    <a:pt x="6834" y="2870"/>
                  </a:lnTo>
                  <a:lnTo>
                    <a:pt x="6834" y="2155"/>
                  </a:lnTo>
                  <a:lnTo>
                    <a:pt x="6072" y="2155"/>
                  </a:lnTo>
                  <a:lnTo>
                    <a:pt x="6072" y="1441"/>
                  </a:lnTo>
                  <a:lnTo>
                    <a:pt x="5310" y="1441"/>
                  </a:lnTo>
                  <a:lnTo>
                    <a:pt x="5310" y="726"/>
                  </a:lnTo>
                  <a:lnTo>
                    <a:pt x="4548" y="726"/>
                  </a:lnTo>
                  <a:lnTo>
                    <a:pt x="4548" y="0"/>
                  </a:lnTo>
                  <a:close/>
                </a:path>
              </a:pathLst>
            </a:custGeom>
            <a:solidFill>
              <a:srgbClr val="FF00FF">
                <a:alpha val="240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770;p39">
              <a:extLst>
                <a:ext uri="{FF2B5EF4-FFF2-40B4-BE49-F238E27FC236}">
                  <a16:creationId xmlns:a16="http://schemas.microsoft.com/office/drawing/2014/main" id="{BAA4C39C-5182-457F-898B-7AA6A4A04ADF}"/>
                </a:ext>
              </a:extLst>
            </p:cNvPr>
            <p:cNvSpPr/>
            <p:nvPr/>
          </p:nvSpPr>
          <p:spPr>
            <a:xfrm>
              <a:off x="2708950" y="1461925"/>
              <a:ext cx="189650" cy="248250"/>
            </a:xfrm>
            <a:custGeom>
              <a:avLst/>
              <a:gdLst/>
              <a:ahLst/>
              <a:cxnLst/>
              <a:rect l="l" t="t" r="r" b="b"/>
              <a:pathLst>
                <a:path w="7586" h="9930" extrusionOk="0">
                  <a:moveTo>
                    <a:pt x="6073" y="0"/>
                  </a:moveTo>
                  <a:lnTo>
                    <a:pt x="6073" y="3548"/>
                  </a:lnTo>
                  <a:lnTo>
                    <a:pt x="5323" y="3548"/>
                  </a:lnTo>
                  <a:lnTo>
                    <a:pt x="5323" y="4263"/>
                  </a:lnTo>
                  <a:lnTo>
                    <a:pt x="4561" y="4263"/>
                  </a:lnTo>
                  <a:lnTo>
                    <a:pt x="4561" y="4989"/>
                  </a:lnTo>
                  <a:lnTo>
                    <a:pt x="3037" y="4989"/>
                  </a:lnTo>
                  <a:lnTo>
                    <a:pt x="3037" y="4275"/>
                  </a:lnTo>
                  <a:lnTo>
                    <a:pt x="2287" y="4275"/>
                  </a:lnTo>
                  <a:lnTo>
                    <a:pt x="2287" y="3560"/>
                  </a:lnTo>
                  <a:lnTo>
                    <a:pt x="1525" y="3560"/>
                  </a:lnTo>
                  <a:lnTo>
                    <a:pt x="1525" y="24"/>
                  </a:lnTo>
                  <a:lnTo>
                    <a:pt x="1" y="24"/>
                  </a:lnTo>
                  <a:lnTo>
                    <a:pt x="1" y="4263"/>
                  </a:lnTo>
                  <a:lnTo>
                    <a:pt x="763" y="4263"/>
                  </a:lnTo>
                  <a:lnTo>
                    <a:pt x="763" y="4965"/>
                  </a:lnTo>
                  <a:lnTo>
                    <a:pt x="1525" y="4965"/>
                  </a:lnTo>
                  <a:lnTo>
                    <a:pt x="1525" y="5679"/>
                  </a:lnTo>
                  <a:lnTo>
                    <a:pt x="2287" y="5679"/>
                  </a:lnTo>
                  <a:lnTo>
                    <a:pt x="2287" y="6394"/>
                  </a:lnTo>
                  <a:lnTo>
                    <a:pt x="3037" y="6394"/>
                  </a:lnTo>
                  <a:lnTo>
                    <a:pt x="3037" y="9930"/>
                  </a:lnTo>
                  <a:lnTo>
                    <a:pt x="4561" y="9930"/>
                  </a:lnTo>
                  <a:lnTo>
                    <a:pt x="4561" y="6406"/>
                  </a:lnTo>
                  <a:lnTo>
                    <a:pt x="5323" y="6406"/>
                  </a:lnTo>
                  <a:lnTo>
                    <a:pt x="5323" y="5691"/>
                  </a:lnTo>
                  <a:lnTo>
                    <a:pt x="6073" y="5691"/>
                  </a:lnTo>
                  <a:lnTo>
                    <a:pt x="6073" y="4977"/>
                  </a:lnTo>
                  <a:lnTo>
                    <a:pt x="6835" y="4977"/>
                  </a:lnTo>
                  <a:lnTo>
                    <a:pt x="6835" y="4263"/>
                  </a:lnTo>
                  <a:lnTo>
                    <a:pt x="7585" y="4263"/>
                  </a:lnTo>
                  <a:lnTo>
                    <a:pt x="7585" y="0"/>
                  </a:lnTo>
                  <a:close/>
                </a:path>
              </a:pathLst>
            </a:custGeom>
            <a:solidFill>
              <a:srgbClr val="FF00FF">
                <a:alpha val="240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771;p39">
              <a:extLst>
                <a:ext uri="{FF2B5EF4-FFF2-40B4-BE49-F238E27FC236}">
                  <a16:creationId xmlns:a16="http://schemas.microsoft.com/office/drawing/2014/main" id="{CB7592A4-CDC5-4BAF-90EF-9B4AE9085DE9}"/>
                </a:ext>
              </a:extLst>
            </p:cNvPr>
            <p:cNvSpPr/>
            <p:nvPr/>
          </p:nvSpPr>
          <p:spPr>
            <a:xfrm>
              <a:off x="3050975" y="1488400"/>
              <a:ext cx="110150" cy="192925"/>
            </a:xfrm>
            <a:custGeom>
              <a:avLst/>
              <a:gdLst/>
              <a:ahLst/>
              <a:cxnLst/>
              <a:rect l="l" t="t" r="r" b="b"/>
              <a:pathLst>
                <a:path w="4406" h="7717" extrusionOk="0">
                  <a:moveTo>
                    <a:pt x="0" y="1"/>
                  </a:moveTo>
                  <a:lnTo>
                    <a:pt x="0" y="1108"/>
                  </a:lnTo>
                  <a:lnTo>
                    <a:pt x="0" y="2203"/>
                  </a:lnTo>
                  <a:lnTo>
                    <a:pt x="0" y="5513"/>
                  </a:lnTo>
                  <a:lnTo>
                    <a:pt x="0" y="6609"/>
                  </a:lnTo>
                  <a:lnTo>
                    <a:pt x="0" y="7716"/>
                  </a:lnTo>
                  <a:lnTo>
                    <a:pt x="1107" y="7716"/>
                  </a:lnTo>
                  <a:lnTo>
                    <a:pt x="1107" y="6609"/>
                  </a:lnTo>
                  <a:lnTo>
                    <a:pt x="2203" y="6609"/>
                  </a:lnTo>
                  <a:lnTo>
                    <a:pt x="2203" y="5537"/>
                  </a:lnTo>
                  <a:lnTo>
                    <a:pt x="2274" y="5513"/>
                  </a:lnTo>
                  <a:lnTo>
                    <a:pt x="3310" y="5513"/>
                  </a:lnTo>
                  <a:lnTo>
                    <a:pt x="3310" y="4406"/>
                  </a:lnTo>
                  <a:lnTo>
                    <a:pt x="4405" y="4406"/>
                  </a:lnTo>
                  <a:lnTo>
                    <a:pt x="4405" y="3311"/>
                  </a:lnTo>
                  <a:lnTo>
                    <a:pt x="3310" y="3311"/>
                  </a:lnTo>
                  <a:lnTo>
                    <a:pt x="3310" y="2203"/>
                  </a:lnTo>
                  <a:lnTo>
                    <a:pt x="2203" y="2203"/>
                  </a:lnTo>
                  <a:lnTo>
                    <a:pt x="2203" y="1108"/>
                  </a:lnTo>
                  <a:lnTo>
                    <a:pt x="1107" y="1108"/>
                  </a:lnTo>
                  <a:lnTo>
                    <a:pt x="1107" y="1"/>
                  </a:lnTo>
                  <a:close/>
                </a:path>
              </a:pathLst>
            </a:custGeom>
            <a:solidFill>
              <a:srgbClr val="FF00FF">
                <a:alpha val="240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1" name="Google Shape;772;p39">
            <a:extLst>
              <a:ext uri="{FF2B5EF4-FFF2-40B4-BE49-F238E27FC236}">
                <a16:creationId xmlns:a16="http://schemas.microsoft.com/office/drawing/2014/main" id="{D017DA34-B320-431D-80FE-93704660F7DB}"/>
              </a:ext>
            </a:extLst>
          </p:cNvPr>
          <p:cNvGrpSpPr/>
          <p:nvPr/>
        </p:nvGrpSpPr>
        <p:grpSpPr>
          <a:xfrm>
            <a:off x="177902" y="183318"/>
            <a:ext cx="722450" cy="158692"/>
            <a:chOff x="2028225" y="1461925"/>
            <a:chExt cx="1132900" cy="248850"/>
          </a:xfrm>
        </p:grpSpPr>
        <p:sp>
          <p:nvSpPr>
            <p:cNvPr id="152" name="Google Shape;773;p39">
              <a:extLst>
                <a:ext uri="{FF2B5EF4-FFF2-40B4-BE49-F238E27FC236}">
                  <a16:creationId xmlns:a16="http://schemas.microsoft.com/office/drawing/2014/main" id="{9D438985-4AF2-4B2F-A188-02C75A97A9E7}"/>
                </a:ext>
              </a:extLst>
            </p:cNvPr>
            <p:cNvSpPr/>
            <p:nvPr/>
          </p:nvSpPr>
          <p:spPr>
            <a:xfrm>
              <a:off x="2028225" y="1462225"/>
              <a:ext cx="189625" cy="247675"/>
            </a:xfrm>
            <a:custGeom>
              <a:avLst/>
              <a:gdLst/>
              <a:ahLst/>
              <a:cxnLst/>
              <a:rect l="l" t="t" r="r" b="b"/>
              <a:pathLst>
                <a:path w="7585" h="9907" extrusionOk="0">
                  <a:moveTo>
                    <a:pt x="5310" y="1429"/>
                  </a:moveTo>
                  <a:lnTo>
                    <a:pt x="5310" y="2119"/>
                  </a:lnTo>
                  <a:lnTo>
                    <a:pt x="6072" y="2119"/>
                  </a:lnTo>
                  <a:lnTo>
                    <a:pt x="6072" y="3536"/>
                  </a:lnTo>
                  <a:lnTo>
                    <a:pt x="5310" y="3536"/>
                  </a:lnTo>
                  <a:lnTo>
                    <a:pt x="5310" y="4251"/>
                  </a:lnTo>
                  <a:lnTo>
                    <a:pt x="1512" y="4251"/>
                  </a:lnTo>
                  <a:lnTo>
                    <a:pt x="1512" y="1429"/>
                  </a:lnTo>
                  <a:close/>
                  <a:moveTo>
                    <a:pt x="0" y="0"/>
                  </a:moveTo>
                  <a:lnTo>
                    <a:pt x="0" y="9906"/>
                  </a:lnTo>
                  <a:lnTo>
                    <a:pt x="1512" y="9906"/>
                  </a:lnTo>
                  <a:lnTo>
                    <a:pt x="1512" y="5679"/>
                  </a:lnTo>
                  <a:lnTo>
                    <a:pt x="6072" y="5679"/>
                  </a:lnTo>
                  <a:lnTo>
                    <a:pt x="6072" y="4965"/>
                  </a:lnTo>
                  <a:lnTo>
                    <a:pt x="6834" y="4965"/>
                  </a:lnTo>
                  <a:lnTo>
                    <a:pt x="6834" y="4251"/>
                  </a:lnTo>
                  <a:lnTo>
                    <a:pt x="7584" y="4251"/>
                  </a:lnTo>
                  <a:lnTo>
                    <a:pt x="7584" y="1429"/>
                  </a:lnTo>
                  <a:lnTo>
                    <a:pt x="6834" y="1429"/>
                  </a:lnTo>
                  <a:lnTo>
                    <a:pt x="6834" y="714"/>
                  </a:lnTo>
                  <a:lnTo>
                    <a:pt x="6072" y="714"/>
                  </a:lnTo>
                  <a:lnTo>
                    <a:pt x="6072" y="0"/>
                  </a:lnTo>
                  <a:close/>
                </a:path>
              </a:pathLst>
            </a:custGeom>
            <a:solidFill>
              <a:srgbClr val="00FFFF">
                <a:alpha val="257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774;p39">
              <a:extLst>
                <a:ext uri="{FF2B5EF4-FFF2-40B4-BE49-F238E27FC236}">
                  <a16:creationId xmlns:a16="http://schemas.microsoft.com/office/drawing/2014/main" id="{CCD1AB5A-2086-4ACD-A64E-E00B4182F674}"/>
                </a:ext>
              </a:extLst>
            </p:cNvPr>
            <p:cNvSpPr/>
            <p:nvPr/>
          </p:nvSpPr>
          <p:spPr>
            <a:xfrm>
              <a:off x="2255025" y="1462500"/>
              <a:ext cx="189925" cy="247675"/>
            </a:xfrm>
            <a:custGeom>
              <a:avLst/>
              <a:gdLst/>
              <a:ahLst/>
              <a:cxnLst/>
              <a:rect l="l" t="t" r="r" b="b"/>
              <a:pathLst>
                <a:path w="7597" h="9907" extrusionOk="0">
                  <a:moveTo>
                    <a:pt x="1" y="1"/>
                  </a:moveTo>
                  <a:lnTo>
                    <a:pt x="1" y="9907"/>
                  </a:lnTo>
                  <a:lnTo>
                    <a:pt x="7597" y="9907"/>
                  </a:lnTo>
                  <a:lnTo>
                    <a:pt x="7597" y="8502"/>
                  </a:lnTo>
                  <a:lnTo>
                    <a:pt x="1525" y="8502"/>
                  </a:lnTo>
                  <a:lnTo>
                    <a:pt x="1525" y="1"/>
                  </a:lnTo>
                  <a:close/>
                </a:path>
              </a:pathLst>
            </a:custGeom>
            <a:solidFill>
              <a:srgbClr val="00FFFF">
                <a:alpha val="257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775;p39">
              <a:extLst>
                <a:ext uri="{FF2B5EF4-FFF2-40B4-BE49-F238E27FC236}">
                  <a16:creationId xmlns:a16="http://schemas.microsoft.com/office/drawing/2014/main" id="{0255DC16-0FD9-41C4-9288-42075047590D}"/>
                </a:ext>
              </a:extLst>
            </p:cNvPr>
            <p:cNvSpPr/>
            <p:nvPr/>
          </p:nvSpPr>
          <p:spPr>
            <a:xfrm>
              <a:off x="2482150" y="1461925"/>
              <a:ext cx="189625" cy="248850"/>
            </a:xfrm>
            <a:custGeom>
              <a:avLst/>
              <a:gdLst/>
              <a:ahLst/>
              <a:cxnLst/>
              <a:rect l="l" t="t" r="r" b="b"/>
              <a:pathLst>
                <a:path w="7585" h="9954" extrusionOk="0">
                  <a:moveTo>
                    <a:pt x="4548" y="2119"/>
                  </a:moveTo>
                  <a:lnTo>
                    <a:pt x="4548" y="2834"/>
                  </a:lnTo>
                  <a:lnTo>
                    <a:pt x="5310" y="2834"/>
                  </a:lnTo>
                  <a:lnTo>
                    <a:pt x="5310" y="3548"/>
                  </a:lnTo>
                  <a:lnTo>
                    <a:pt x="6072" y="3548"/>
                  </a:lnTo>
                  <a:lnTo>
                    <a:pt x="6072" y="5679"/>
                  </a:lnTo>
                  <a:lnTo>
                    <a:pt x="1512" y="5679"/>
                  </a:lnTo>
                  <a:lnTo>
                    <a:pt x="1512" y="3548"/>
                  </a:lnTo>
                  <a:lnTo>
                    <a:pt x="2274" y="3548"/>
                  </a:lnTo>
                  <a:lnTo>
                    <a:pt x="2274" y="2834"/>
                  </a:lnTo>
                  <a:lnTo>
                    <a:pt x="3036" y="2834"/>
                  </a:lnTo>
                  <a:lnTo>
                    <a:pt x="3036" y="2119"/>
                  </a:lnTo>
                  <a:close/>
                  <a:moveTo>
                    <a:pt x="3036" y="0"/>
                  </a:moveTo>
                  <a:lnTo>
                    <a:pt x="3036" y="726"/>
                  </a:lnTo>
                  <a:lnTo>
                    <a:pt x="2274" y="726"/>
                  </a:lnTo>
                  <a:lnTo>
                    <a:pt x="2274" y="1441"/>
                  </a:lnTo>
                  <a:lnTo>
                    <a:pt x="1512" y="1441"/>
                  </a:lnTo>
                  <a:lnTo>
                    <a:pt x="1512" y="2131"/>
                  </a:lnTo>
                  <a:lnTo>
                    <a:pt x="750" y="2131"/>
                  </a:lnTo>
                  <a:lnTo>
                    <a:pt x="750" y="2846"/>
                  </a:lnTo>
                  <a:lnTo>
                    <a:pt x="0" y="2846"/>
                  </a:lnTo>
                  <a:lnTo>
                    <a:pt x="0" y="9930"/>
                  </a:lnTo>
                  <a:lnTo>
                    <a:pt x="1512" y="9930"/>
                  </a:lnTo>
                  <a:lnTo>
                    <a:pt x="1512" y="7120"/>
                  </a:lnTo>
                  <a:lnTo>
                    <a:pt x="6072" y="7120"/>
                  </a:lnTo>
                  <a:lnTo>
                    <a:pt x="6072" y="9954"/>
                  </a:lnTo>
                  <a:lnTo>
                    <a:pt x="7585" y="9954"/>
                  </a:lnTo>
                  <a:lnTo>
                    <a:pt x="7585" y="2870"/>
                  </a:lnTo>
                  <a:lnTo>
                    <a:pt x="6834" y="2870"/>
                  </a:lnTo>
                  <a:lnTo>
                    <a:pt x="6834" y="2155"/>
                  </a:lnTo>
                  <a:lnTo>
                    <a:pt x="6072" y="2155"/>
                  </a:lnTo>
                  <a:lnTo>
                    <a:pt x="6072" y="1441"/>
                  </a:lnTo>
                  <a:lnTo>
                    <a:pt x="5310" y="1441"/>
                  </a:lnTo>
                  <a:lnTo>
                    <a:pt x="5310" y="726"/>
                  </a:lnTo>
                  <a:lnTo>
                    <a:pt x="4548" y="726"/>
                  </a:lnTo>
                  <a:lnTo>
                    <a:pt x="4548" y="0"/>
                  </a:lnTo>
                  <a:close/>
                </a:path>
              </a:pathLst>
            </a:custGeom>
            <a:solidFill>
              <a:srgbClr val="00FFFF">
                <a:alpha val="257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776;p39">
              <a:extLst>
                <a:ext uri="{FF2B5EF4-FFF2-40B4-BE49-F238E27FC236}">
                  <a16:creationId xmlns:a16="http://schemas.microsoft.com/office/drawing/2014/main" id="{D011F570-DD18-4FB3-BE34-2240BDFAC2C5}"/>
                </a:ext>
              </a:extLst>
            </p:cNvPr>
            <p:cNvSpPr/>
            <p:nvPr/>
          </p:nvSpPr>
          <p:spPr>
            <a:xfrm>
              <a:off x="2708950" y="1461925"/>
              <a:ext cx="189650" cy="248250"/>
            </a:xfrm>
            <a:custGeom>
              <a:avLst/>
              <a:gdLst/>
              <a:ahLst/>
              <a:cxnLst/>
              <a:rect l="l" t="t" r="r" b="b"/>
              <a:pathLst>
                <a:path w="7586" h="9930" extrusionOk="0">
                  <a:moveTo>
                    <a:pt x="6073" y="0"/>
                  </a:moveTo>
                  <a:lnTo>
                    <a:pt x="6073" y="3548"/>
                  </a:lnTo>
                  <a:lnTo>
                    <a:pt x="5323" y="3548"/>
                  </a:lnTo>
                  <a:lnTo>
                    <a:pt x="5323" y="4263"/>
                  </a:lnTo>
                  <a:lnTo>
                    <a:pt x="4561" y="4263"/>
                  </a:lnTo>
                  <a:lnTo>
                    <a:pt x="4561" y="4989"/>
                  </a:lnTo>
                  <a:lnTo>
                    <a:pt x="3037" y="4989"/>
                  </a:lnTo>
                  <a:lnTo>
                    <a:pt x="3037" y="4275"/>
                  </a:lnTo>
                  <a:lnTo>
                    <a:pt x="2287" y="4275"/>
                  </a:lnTo>
                  <a:lnTo>
                    <a:pt x="2287" y="3560"/>
                  </a:lnTo>
                  <a:lnTo>
                    <a:pt x="1525" y="3560"/>
                  </a:lnTo>
                  <a:lnTo>
                    <a:pt x="1525" y="24"/>
                  </a:lnTo>
                  <a:lnTo>
                    <a:pt x="1" y="24"/>
                  </a:lnTo>
                  <a:lnTo>
                    <a:pt x="1" y="4263"/>
                  </a:lnTo>
                  <a:lnTo>
                    <a:pt x="763" y="4263"/>
                  </a:lnTo>
                  <a:lnTo>
                    <a:pt x="763" y="4965"/>
                  </a:lnTo>
                  <a:lnTo>
                    <a:pt x="1525" y="4965"/>
                  </a:lnTo>
                  <a:lnTo>
                    <a:pt x="1525" y="5679"/>
                  </a:lnTo>
                  <a:lnTo>
                    <a:pt x="2287" y="5679"/>
                  </a:lnTo>
                  <a:lnTo>
                    <a:pt x="2287" y="6394"/>
                  </a:lnTo>
                  <a:lnTo>
                    <a:pt x="3037" y="6394"/>
                  </a:lnTo>
                  <a:lnTo>
                    <a:pt x="3037" y="9930"/>
                  </a:lnTo>
                  <a:lnTo>
                    <a:pt x="4561" y="9930"/>
                  </a:lnTo>
                  <a:lnTo>
                    <a:pt x="4561" y="6406"/>
                  </a:lnTo>
                  <a:lnTo>
                    <a:pt x="5323" y="6406"/>
                  </a:lnTo>
                  <a:lnTo>
                    <a:pt x="5323" y="5691"/>
                  </a:lnTo>
                  <a:lnTo>
                    <a:pt x="6073" y="5691"/>
                  </a:lnTo>
                  <a:lnTo>
                    <a:pt x="6073" y="4977"/>
                  </a:lnTo>
                  <a:lnTo>
                    <a:pt x="6835" y="4977"/>
                  </a:lnTo>
                  <a:lnTo>
                    <a:pt x="6835" y="4263"/>
                  </a:lnTo>
                  <a:lnTo>
                    <a:pt x="7585" y="4263"/>
                  </a:lnTo>
                  <a:lnTo>
                    <a:pt x="7585" y="0"/>
                  </a:lnTo>
                  <a:close/>
                </a:path>
              </a:pathLst>
            </a:custGeom>
            <a:solidFill>
              <a:srgbClr val="00FFFF">
                <a:alpha val="257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777;p39">
              <a:extLst>
                <a:ext uri="{FF2B5EF4-FFF2-40B4-BE49-F238E27FC236}">
                  <a16:creationId xmlns:a16="http://schemas.microsoft.com/office/drawing/2014/main" id="{5EF29B96-A72C-4D5C-B6FC-3F68AABD9BCF}"/>
                </a:ext>
              </a:extLst>
            </p:cNvPr>
            <p:cNvSpPr/>
            <p:nvPr/>
          </p:nvSpPr>
          <p:spPr>
            <a:xfrm>
              <a:off x="3050975" y="1488400"/>
              <a:ext cx="110150" cy="192925"/>
            </a:xfrm>
            <a:custGeom>
              <a:avLst/>
              <a:gdLst/>
              <a:ahLst/>
              <a:cxnLst/>
              <a:rect l="l" t="t" r="r" b="b"/>
              <a:pathLst>
                <a:path w="4406" h="7717" extrusionOk="0">
                  <a:moveTo>
                    <a:pt x="0" y="1"/>
                  </a:moveTo>
                  <a:lnTo>
                    <a:pt x="0" y="1108"/>
                  </a:lnTo>
                  <a:lnTo>
                    <a:pt x="0" y="2203"/>
                  </a:lnTo>
                  <a:lnTo>
                    <a:pt x="0" y="5513"/>
                  </a:lnTo>
                  <a:lnTo>
                    <a:pt x="0" y="6609"/>
                  </a:lnTo>
                  <a:lnTo>
                    <a:pt x="0" y="7716"/>
                  </a:lnTo>
                  <a:lnTo>
                    <a:pt x="1107" y="7716"/>
                  </a:lnTo>
                  <a:lnTo>
                    <a:pt x="1107" y="6609"/>
                  </a:lnTo>
                  <a:lnTo>
                    <a:pt x="2203" y="6609"/>
                  </a:lnTo>
                  <a:lnTo>
                    <a:pt x="2203" y="5537"/>
                  </a:lnTo>
                  <a:lnTo>
                    <a:pt x="2274" y="5513"/>
                  </a:lnTo>
                  <a:lnTo>
                    <a:pt x="3310" y="5513"/>
                  </a:lnTo>
                  <a:lnTo>
                    <a:pt x="3310" y="4406"/>
                  </a:lnTo>
                  <a:lnTo>
                    <a:pt x="4405" y="4406"/>
                  </a:lnTo>
                  <a:lnTo>
                    <a:pt x="4405" y="3311"/>
                  </a:lnTo>
                  <a:lnTo>
                    <a:pt x="3310" y="3311"/>
                  </a:lnTo>
                  <a:lnTo>
                    <a:pt x="3310" y="2203"/>
                  </a:lnTo>
                  <a:lnTo>
                    <a:pt x="2203" y="2203"/>
                  </a:lnTo>
                  <a:lnTo>
                    <a:pt x="2203" y="1108"/>
                  </a:lnTo>
                  <a:lnTo>
                    <a:pt x="1107" y="1108"/>
                  </a:lnTo>
                  <a:lnTo>
                    <a:pt x="1107" y="1"/>
                  </a:lnTo>
                  <a:close/>
                </a:path>
              </a:pathLst>
            </a:custGeom>
            <a:solidFill>
              <a:srgbClr val="00FFFF">
                <a:alpha val="257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7" name="Google Shape;778;p39">
            <a:extLst>
              <a:ext uri="{FF2B5EF4-FFF2-40B4-BE49-F238E27FC236}">
                <a16:creationId xmlns:a16="http://schemas.microsoft.com/office/drawing/2014/main" id="{C66C1A90-F2E5-4F49-8EEC-D9F9B8FE65DA}"/>
              </a:ext>
            </a:extLst>
          </p:cNvPr>
          <p:cNvGrpSpPr/>
          <p:nvPr/>
        </p:nvGrpSpPr>
        <p:grpSpPr>
          <a:xfrm>
            <a:off x="241402" y="183318"/>
            <a:ext cx="722450" cy="158692"/>
            <a:chOff x="2028225" y="1461925"/>
            <a:chExt cx="1132900" cy="248850"/>
          </a:xfrm>
        </p:grpSpPr>
        <p:sp>
          <p:nvSpPr>
            <p:cNvPr id="158" name="Google Shape;779;p39">
              <a:extLst>
                <a:ext uri="{FF2B5EF4-FFF2-40B4-BE49-F238E27FC236}">
                  <a16:creationId xmlns:a16="http://schemas.microsoft.com/office/drawing/2014/main" id="{73F23BD7-A6A4-4BA5-B9BD-5E5A02D2E324}"/>
                </a:ext>
              </a:extLst>
            </p:cNvPr>
            <p:cNvSpPr/>
            <p:nvPr/>
          </p:nvSpPr>
          <p:spPr>
            <a:xfrm>
              <a:off x="2028225" y="1462225"/>
              <a:ext cx="189625" cy="247675"/>
            </a:xfrm>
            <a:custGeom>
              <a:avLst/>
              <a:gdLst/>
              <a:ahLst/>
              <a:cxnLst/>
              <a:rect l="l" t="t" r="r" b="b"/>
              <a:pathLst>
                <a:path w="7585" h="9907" extrusionOk="0">
                  <a:moveTo>
                    <a:pt x="5310" y="1429"/>
                  </a:moveTo>
                  <a:lnTo>
                    <a:pt x="5310" y="2119"/>
                  </a:lnTo>
                  <a:lnTo>
                    <a:pt x="6072" y="2119"/>
                  </a:lnTo>
                  <a:lnTo>
                    <a:pt x="6072" y="3536"/>
                  </a:lnTo>
                  <a:lnTo>
                    <a:pt x="5310" y="3536"/>
                  </a:lnTo>
                  <a:lnTo>
                    <a:pt x="5310" y="4251"/>
                  </a:lnTo>
                  <a:lnTo>
                    <a:pt x="1512" y="4251"/>
                  </a:lnTo>
                  <a:lnTo>
                    <a:pt x="1512" y="1429"/>
                  </a:lnTo>
                  <a:close/>
                  <a:moveTo>
                    <a:pt x="0" y="0"/>
                  </a:moveTo>
                  <a:lnTo>
                    <a:pt x="0" y="9906"/>
                  </a:lnTo>
                  <a:lnTo>
                    <a:pt x="1512" y="9906"/>
                  </a:lnTo>
                  <a:lnTo>
                    <a:pt x="1512" y="5679"/>
                  </a:lnTo>
                  <a:lnTo>
                    <a:pt x="6072" y="5679"/>
                  </a:lnTo>
                  <a:lnTo>
                    <a:pt x="6072" y="4965"/>
                  </a:lnTo>
                  <a:lnTo>
                    <a:pt x="6834" y="4965"/>
                  </a:lnTo>
                  <a:lnTo>
                    <a:pt x="6834" y="4251"/>
                  </a:lnTo>
                  <a:lnTo>
                    <a:pt x="7584" y="4251"/>
                  </a:lnTo>
                  <a:lnTo>
                    <a:pt x="7584" y="1429"/>
                  </a:lnTo>
                  <a:lnTo>
                    <a:pt x="6834" y="1429"/>
                  </a:lnTo>
                  <a:lnTo>
                    <a:pt x="6834" y="714"/>
                  </a:lnTo>
                  <a:lnTo>
                    <a:pt x="6072" y="714"/>
                  </a:lnTo>
                  <a:lnTo>
                    <a:pt x="607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780;p39">
              <a:extLst>
                <a:ext uri="{FF2B5EF4-FFF2-40B4-BE49-F238E27FC236}">
                  <a16:creationId xmlns:a16="http://schemas.microsoft.com/office/drawing/2014/main" id="{72FD96BF-7257-4C34-AA73-B4FA11C55360}"/>
                </a:ext>
              </a:extLst>
            </p:cNvPr>
            <p:cNvSpPr/>
            <p:nvPr/>
          </p:nvSpPr>
          <p:spPr>
            <a:xfrm>
              <a:off x="2255025" y="1462500"/>
              <a:ext cx="189925" cy="247675"/>
            </a:xfrm>
            <a:custGeom>
              <a:avLst/>
              <a:gdLst/>
              <a:ahLst/>
              <a:cxnLst/>
              <a:rect l="l" t="t" r="r" b="b"/>
              <a:pathLst>
                <a:path w="7597" h="9907" extrusionOk="0">
                  <a:moveTo>
                    <a:pt x="1" y="1"/>
                  </a:moveTo>
                  <a:lnTo>
                    <a:pt x="1" y="9907"/>
                  </a:lnTo>
                  <a:lnTo>
                    <a:pt x="7597" y="9907"/>
                  </a:lnTo>
                  <a:lnTo>
                    <a:pt x="7597" y="8502"/>
                  </a:lnTo>
                  <a:lnTo>
                    <a:pt x="1525" y="8502"/>
                  </a:lnTo>
                  <a:lnTo>
                    <a:pt x="152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781;p39">
              <a:extLst>
                <a:ext uri="{FF2B5EF4-FFF2-40B4-BE49-F238E27FC236}">
                  <a16:creationId xmlns:a16="http://schemas.microsoft.com/office/drawing/2014/main" id="{513A37B7-5851-40E3-9EBB-3C0665CE04D8}"/>
                </a:ext>
              </a:extLst>
            </p:cNvPr>
            <p:cNvSpPr/>
            <p:nvPr/>
          </p:nvSpPr>
          <p:spPr>
            <a:xfrm>
              <a:off x="2482150" y="1461925"/>
              <a:ext cx="189625" cy="248850"/>
            </a:xfrm>
            <a:custGeom>
              <a:avLst/>
              <a:gdLst/>
              <a:ahLst/>
              <a:cxnLst/>
              <a:rect l="l" t="t" r="r" b="b"/>
              <a:pathLst>
                <a:path w="7585" h="9954" extrusionOk="0">
                  <a:moveTo>
                    <a:pt x="4548" y="2119"/>
                  </a:moveTo>
                  <a:lnTo>
                    <a:pt x="4548" y="2834"/>
                  </a:lnTo>
                  <a:lnTo>
                    <a:pt x="5310" y="2834"/>
                  </a:lnTo>
                  <a:lnTo>
                    <a:pt x="5310" y="3548"/>
                  </a:lnTo>
                  <a:lnTo>
                    <a:pt x="6072" y="3548"/>
                  </a:lnTo>
                  <a:lnTo>
                    <a:pt x="6072" y="5679"/>
                  </a:lnTo>
                  <a:lnTo>
                    <a:pt x="1512" y="5679"/>
                  </a:lnTo>
                  <a:lnTo>
                    <a:pt x="1512" y="3548"/>
                  </a:lnTo>
                  <a:lnTo>
                    <a:pt x="2274" y="3548"/>
                  </a:lnTo>
                  <a:lnTo>
                    <a:pt x="2274" y="2834"/>
                  </a:lnTo>
                  <a:lnTo>
                    <a:pt x="3036" y="2834"/>
                  </a:lnTo>
                  <a:lnTo>
                    <a:pt x="3036" y="2119"/>
                  </a:lnTo>
                  <a:close/>
                  <a:moveTo>
                    <a:pt x="3036" y="0"/>
                  </a:moveTo>
                  <a:lnTo>
                    <a:pt x="3036" y="726"/>
                  </a:lnTo>
                  <a:lnTo>
                    <a:pt x="2274" y="726"/>
                  </a:lnTo>
                  <a:lnTo>
                    <a:pt x="2274" y="1441"/>
                  </a:lnTo>
                  <a:lnTo>
                    <a:pt x="1512" y="1441"/>
                  </a:lnTo>
                  <a:lnTo>
                    <a:pt x="1512" y="2131"/>
                  </a:lnTo>
                  <a:lnTo>
                    <a:pt x="750" y="2131"/>
                  </a:lnTo>
                  <a:lnTo>
                    <a:pt x="750" y="2846"/>
                  </a:lnTo>
                  <a:lnTo>
                    <a:pt x="0" y="2846"/>
                  </a:lnTo>
                  <a:lnTo>
                    <a:pt x="0" y="9930"/>
                  </a:lnTo>
                  <a:lnTo>
                    <a:pt x="1512" y="9930"/>
                  </a:lnTo>
                  <a:lnTo>
                    <a:pt x="1512" y="7120"/>
                  </a:lnTo>
                  <a:lnTo>
                    <a:pt x="6072" y="7120"/>
                  </a:lnTo>
                  <a:lnTo>
                    <a:pt x="6072" y="9954"/>
                  </a:lnTo>
                  <a:lnTo>
                    <a:pt x="7585" y="9954"/>
                  </a:lnTo>
                  <a:lnTo>
                    <a:pt x="7585" y="2870"/>
                  </a:lnTo>
                  <a:lnTo>
                    <a:pt x="6834" y="2870"/>
                  </a:lnTo>
                  <a:lnTo>
                    <a:pt x="6834" y="2155"/>
                  </a:lnTo>
                  <a:lnTo>
                    <a:pt x="6072" y="2155"/>
                  </a:lnTo>
                  <a:lnTo>
                    <a:pt x="6072" y="1441"/>
                  </a:lnTo>
                  <a:lnTo>
                    <a:pt x="5310" y="1441"/>
                  </a:lnTo>
                  <a:lnTo>
                    <a:pt x="5310" y="726"/>
                  </a:lnTo>
                  <a:lnTo>
                    <a:pt x="4548" y="726"/>
                  </a:lnTo>
                  <a:lnTo>
                    <a:pt x="45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782;p39">
              <a:extLst>
                <a:ext uri="{FF2B5EF4-FFF2-40B4-BE49-F238E27FC236}">
                  <a16:creationId xmlns:a16="http://schemas.microsoft.com/office/drawing/2014/main" id="{7411F795-3703-4B22-8490-AE558E609970}"/>
                </a:ext>
              </a:extLst>
            </p:cNvPr>
            <p:cNvSpPr/>
            <p:nvPr/>
          </p:nvSpPr>
          <p:spPr>
            <a:xfrm>
              <a:off x="2708950" y="1461925"/>
              <a:ext cx="189650" cy="248250"/>
            </a:xfrm>
            <a:custGeom>
              <a:avLst/>
              <a:gdLst/>
              <a:ahLst/>
              <a:cxnLst/>
              <a:rect l="l" t="t" r="r" b="b"/>
              <a:pathLst>
                <a:path w="7586" h="9930" extrusionOk="0">
                  <a:moveTo>
                    <a:pt x="6073" y="0"/>
                  </a:moveTo>
                  <a:lnTo>
                    <a:pt x="6073" y="3548"/>
                  </a:lnTo>
                  <a:lnTo>
                    <a:pt x="5323" y="3548"/>
                  </a:lnTo>
                  <a:lnTo>
                    <a:pt x="5323" y="4263"/>
                  </a:lnTo>
                  <a:lnTo>
                    <a:pt x="4561" y="4263"/>
                  </a:lnTo>
                  <a:lnTo>
                    <a:pt x="4561" y="4989"/>
                  </a:lnTo>
                  <a:lnTo>
                    <a:pt x="3037" y="4989"/>
                  </a:lnTo>
                  <a:lnTo>
                    <a:pt x="3037" y="4275"/>
                  </a:lnTo>
                  <a:lnTo>
                    <a:pt x="2287" y="4275"/>
                  </a:lnTo>
                  <a:lnTo>
                    <a:pt x="2287" y="3560"/>
                  </a:lnTo>
                  <a:lnTo>
                    <a:pt x="1525" y="3560"/>
                  </a:lnTo>
                  <a:lnTo>
                    <a:pt x="1525" y="24"/>
                  </a:lnTo>
                  <a:lnTo>
                    <a:pt x="1" y="24"/>
                  </a:lnTo>
                  <a:lnTo>
                    <a:pt x="1" y="4263"/>
                  </a:lnTo>
                  <a:lnTo>
                    <a:pt x="763" y="4263"/>
                  </a:lnTo>
                  <a:lnTo>
                    <a:pt x="763" y="4965"/>
                  </a:lnTo>
                  <a:lnTo>
                    <a:pt x="1525" y="4965"/>
                  </a:lnTo>
                  <a:lnTo>
                    <a:pt x="1525" y="5679"/>
                  </a:lnTo>
                  <a:lnTo>
                    <a:pt x="2287" y="5679"/>
                  </a:lnTo>
                  <a:lnTo>
                    <a:pt x="2287" y="6394"/>
                  </a:lnTo>
                  <a:lnTo>
                    <a:pt x="3037" y="6394"/>
                  </a:lnTo>
                  <a:lnTo>
                    <a:pt x="3037" y="9930"/>
                  </a:lnTo>
                  <a:lnTo>
                    <a:pt x="4561" y="9930"/>
                  </a:lnTo>
                  <a:lnTo>
                    <a:pt x="4561" y="6406"/>
                  </a:lnTo>
                  <a:lnTo>
                    <a:pt x="5323" y="6406"/>
                  </a:lnTo>
                  <a:lnTo>
                    <a:pt x="5323" y="5691"/>
                  </a:lnTo>
                  <a:lnTo>
                    <a:pt x="6073" y="5691"/>
                  </a:lnTo>
                  <a:lnTo>
                    <a:pt x="6073" y="4977"/>
                  </a:lnTo>
                  <a:lnTo>
                    <a:pt x="6835" y="4977"/>
                  </a:lnTo>
                  <a:lnTo>
                    <a:pt x="6835" y="4263"/>
                  </a:lnTo>
                  <a:lnTo>
                    <a:pt x="7585" y="4263"/>
                  </a:lnTo>
                  <a:lnTo>
                    <a:pt x="758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783;p39">
              <a:hlinkClick r:id="rId5"/>
              <a:extLst>
                <a:ext uri="{FF2B5EF4-FFF2-40B4-BE49-F238E27FC236}">
                  <a16:creationId xmlns:a16="http://schemas.microsoft.com/office/drawing/2014/main" id="{F655BAEF-CA2C-4BC0-8621-BB3DB507CFD0}"/>
                </a:ext>
              </a:extLst>
            </p:cNvPr>
            <p:cNvSpPr/>
            <p:nvPr/>
          </p:nvSpPr>
          <p:spPr>
            <a:xfrm>
              <a:off x="3050975" y="1488400"/>
              <a:ext cx="110150" cy="192925"/>
            </a:xfrm>
            <a:custGeom>
              <a:avLst/>
              <a:gdLst/>
              <a:ahLst/>
              <a:cxnLst/>
              <a:rect l="l" t="t" r="r" b="b"/>
              <a:pathLst>
                <a:path w="4406" h="7717" extrusionOk="0">
                  <a:moveTo>
                    <a:pt x="0" y="1"/>
                  </a:moveTo>
                  <a:lnTo>
                    <a:pt x="0" y="1108"/>
                  </a:lnTo>
                  <a:lnTo>
                    <a:pt x="0" y="2203"/>
                  </a:lnTo>
                  <a:lnTo>
                    <a:pt x="0" y="5513"/>
                  </a:lnTo>
                  <a:lnTo>
                    <a:pt x="0" y="6609"/>
                  </a:lnTo>
                  <a:lnTo>
                    <a:pt x="0" y="7716"/>
                  </a:lnTo>
                  <a:lnTo>
                    <a:pt x="1107" y="7716"/>
                  </a:lnTo>
                  <a:lnTo>
                    <a:pt x="1107" y="6609"/>
                  </a:lnTo>
                  <a:lnTo>
                    <a:pt x="2203" y="6609"/>
                  </a:lnTo>
                  <a:lnTo>
                    <a:pt x="2203" y="5537"/>
                  </a:lnTo>
                  <a:lnTo>
                    <a:pt x="2274" y="5513"/>
                  </a:lnTo>
                  <a:lnTo>
                    <a:pt x="3310" y="5513"/>
                  </a:lnTo>
                  <a:lnTo>
                    <a:pt x="3310" y="4406"/>
                  </a:lnTo>
                  <a:lnTo>
                    <a:pt x="4405" y="4406"/>
                  </a:lnTo>
                  <a:lnTo>
                    <a:pt x="4405" y="3311"/>
                  </a:lnTo>
                  <a:lnTo>
                    <a:pt x="3310" y="3311"/>
                  </a:lnTo>
                  <a:lnTo>
                    <a:pt x="3310" y="2203"/>
                  </a:lnTo>
                  <a:lnTo>
                    <a:pt x="2203" y="2203"/>
                  </a:lnTo>
                  <a:lnTo>
                    <a:pt x="2203" y="1108"/>
                  </a:lnTo>
                  <a:lnTo>
                    <a:pt x="1107" y="1108"/>
                  </a:lnTo>
                  <a:lnTo>
                    <a:pt x="110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 name="Online Media 3" title="CD / Frame Rate">
            <a:hlinkClick r:id="" action="ppaction://media"/>
            <a:extLst>
              <a:ext uri="{FF2B5EF4-FFF2-40B4-BE49-F238E27FC236}">
                <a16:creationId xmlns:a16="http://schemas.microsoft.com/office/drawing/2014/main" id="{53A4D085-1DD9-47FC-8912-4E804EEF2083}"/>
              </a:ext>
            </a:extLst>
          </p:cNvPr>
          <p:cNvPicPr>
            <a:picLocks noRot="1" noChangeAspect="1"/>
          </p:cNvPicPr>
          <p:nvPr>
            <a:videoFile r:link="rId1"/>
            <p:custDataLst>
              <p:tags r:id="rId2"/>
            </p:custDataLst>
          </p:nvPr>
        </p:nvPicPr>
        <p:blipFill>
          <a:blip r:embed="rId6"/>
          <a:stretch>
            <a:fillRect/>
          </a:stretch>
        </p:blipFill>
        <p:spPr>
          <a:xfrm>
            <a:off x="5359623" y="1826877"/>
            <a:ext cx="2752522" cy="1555175"/>
          </a:xfrm>
          <a:prstGeom prst="rect">
            <a:avLst/>
          </a:prstGeom>
        </p:spPr>
      </p:pic>
    </p:spTree>
    <p:extLst>
      <p:ext uri="{BB962C8B-B14F-4D97-AF65-F5344CB8AC3E}">
        <p14:creationId xmlns:p14="http://schemas.microsoft.com/office/powerpoint/2010/main" val="28733816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627"/>
        <p:cNvGrpSpPr/>
        <p:nvPr/>
      </p:nvGrpSpPr>
      <p:grpSpPr>
        <a:xfrm>
          <a:off x="0" y="0"/>
          <a:ext cx="0" cy="0"/>
          <a:chOff x="0" y="0"/>
          <a:chExt cx="0" cy="0"/>
        </a:xfrm>
      </p:grpSpPr>
      <p:grpSp>
        <p:nvGrpSpPr>
          <p:cNvPr id="628" name="Google Shape;628;p38"/>
          <p:cNvGrpSpPr/>
          <p:nvPr/>
        </p:nvGrpSpPr>
        <p:grpSpPr>
          <a:xfrm>
            <a:off x="4847875" y="987775"/>
            <a:ext cx="3693075" cy="3196200"/>
            <a:chOff x="4847875" y="987775"/>
            <a:chExt cx="3693075" cy="3196200"/>
          </a:xfrm>
        </p:grpSpPr>
        <p:sp>
          <p:nvSpPr>
            <p:cNvPr id="629" name="Google Shape;629;p38"/>
            <p:cNvSpPr/>
            <p:nvPr/>
          </p:nvSpPr>
          <p:spPr>
            <a:xfrm>
              <a:off x="5137790" y="987775"/>
              <a:ext cx="3196200" cy="31962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30" name="Google Shape;630;p38"/>
            <p:cNvGrpSpPr/>
            <p:nvPr/>
          </p:nvGrpSpPr>
          <p:grpSpPr>
            <a:xfrm>
              <a:off x="5373734" y="1223700"/>
              <a:ext cx="2724312" cy="2724350"/>
              <a:chOff x="5373738" y="1209600"/>
              <a:chExt cx="2724312" cy="2724350"/>
            </a:xfrm>
          </p:grpSpPr>
          <p:sp>
            <p:nvSpPr>
              <p:cNvPr id="631" name="Google Shape;631;p38"/>
              <p:cNvSpPr/>
              <p:nvPr/>
            </p:nvSpPr>
            <p:spPr>
              <a:xfrm>
                <a:off x="5373738" y="1209600"/>
                <a:ext cx="2724300" cy="27243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32" name="Google Shape;632;p38"/>
              <p:cNvGrpSpPr/>
              <p:nvPr/>
            </p:nvGrpSpPr>
            <p:grpSpPr>
              <a:xfrm>
                <a:off x="5373750" y="1209600"/>
                <a:ext cx="2724300" cy="302700"/>
                <a:chOff x="5373750" y="1209600"/>
                <a:chExt cx="2724300" cy="302700"/>
              </a:xfrm>
            </p:grpSpPr>
            <p:sp>
              <p:nvSpPr>
                <p:cNvPr id="633" name="Google Shape;63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63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63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63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63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63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63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64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64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2" name="Google Shape;642;p38"/>
              <p:cNvGrpSpPr/>
              <p:nvPr/>
            </p:nvGrpSpPr>
            <p:grpSpPr>
              <a:xfrm>
                <a:off x="5373750" y="1512300"/>
                <a:ext cx="2724300" cy="302700"/>
                <a:chOff x="5373750" y="1209600"/>
                <a:chExt cx="2724300" cy="302700"/>
              </a:xfrm>
            </p:grpSpPr>
            <p:sp>
              <p:nvSpPr>
                <p:cNvPr id="643" name="Google Shape;64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64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64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64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64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64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64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65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65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2" name="Google Shape;652;p38"/>
              <p:cNvGrpSpPr/>
              <p:nvPr/>
            </p:nvGrpSpPr>
            <p:grpSpPr>
              <a:xfrm>
                <a:off x="5373750" y="1815000"/>
                <a:ext cx="2724300" cy="302700"/>
                <a:chOff x="5373750" y="1209600"/>
                <a:chExt cx="2724300" cy="302700"/>
              </a:xfrm>
            </p:grpSpPr>
            <p:sp>
              <p:nvSpPr>
                <p:cNvPr id="653" name="Google Shape;65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65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65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65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65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65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65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2" name="Google Shape;662;p38"/>
              <p:cNvGrpSpPr/>
              <p:nvPr/>
            </p:nvGrpSpPr>
            <p:grpSpPr>
              <a:xfrm>
                <a:off x="5373750" y="2117700"/>
                <a:ext cx="2724300" cy="302700"/>
                <a:chOff x="5373750" y="1209600"/>
                <a:chExt cx="2724300" cy="302700"/>
              </a:xfrm>
            </p:grpSpPr>
            <p:sp>
              <p:nvSpPr>
                <p:cNvPr id="663" name="Google Shape;66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66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66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66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66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66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67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672;p38"/>
              <p:cNvGrpSpPr/>
              <p:nvPr/>
            </p:nvGrpSpPr>
            <p:grpSpPr>
              <a:xfrm>
                <a:off x="5373750" y="2420400"/>
                <a:ext cx="2724300" cy="302700"/>
                <a:chOff x="5373750" y="1209600"/>
                <a:chExt cx="2724300" cy="302700"/>
              </a:xfrm>
            </p:grpSpPr>
            <p:sp>
              <p:nvSpPr>
                <p:cNvPr id="673" name="Google Shape;67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67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67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67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67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67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68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68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2" name="Google Shape;682;p38"/>
              <p:cNvGrpSpPr/>
              <p:nvPr/>
            </p:nvGrpSpPr>
            <p:grpSpPr>
              <a:xfrm>
                <a:off x="5373750" y="2723100"/>
                <a:ext cx="2724300" cy="302700"/>
                <a:chOff x="5373750" y="1209600"/>
                <a:chExt cx="2724300" cy="302700"/>
              </a:xfrm>
            </p:grpSpPr>
            <p:sp>
              <p:nvSpPr>
                <p:cNvPr id="683" name="Google Shape;68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68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 name="Google Shape;68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 name="Google Shape;68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 name="Google Shape;68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 name="Google Shape;68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68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69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 name="Google Shape;69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2" name="Google Shape;692;p38"/>
              <p:cNvGrpSpPr/>
              <p:nvPr/>
            </p:nvGrpSpPr>
            <p:grpSpPr>
              <a:xfrm>
                <a:off x="5373750" y="3025800"/>
                <a:ext cx="2724300" cy="302700"/>
                <a:chOff x="5373750" y="1209600"/>
                <a:chExt cx="2724300" cy="302700"/>
              </a:xfrm>
            </p:grpSpPr>
            <p:sp>
              <p:nvSpPr>
                <p:cNvPr id="693" name="Google Shape;69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 name="Google Shape;69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 name="Google Shape;69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 name="Google Shape;69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 name="Google Shape;69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 name="Google Shape;69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 name="Google Shape;69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 name="Google Shape;70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 name="Google Shape;70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2" name="Google Shape;702;p38"/>
              <p:cNvGrpSpPr/>
              <p:nvPr/>
            </p:nvGrpSpPr>
            <p:grpSpPr>
              <a:xfrm>
                <a:off x="5373750" y="3328500"/>
                <a:ext cx="2724300" cy="302700"/>
                <a:chOff x="5373750" y="1209600"/>
                <a:chExt cx="2724300" cy="302700"/>
              </a:xfrm>
            </p:grpSpPr>
            <p:sp>
              <p:nvSpPr>
                <p:cNvPr id="703" name="Google Shape;70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 name="Google Shape;70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 name="Google Shape;70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 name="Google Shape;70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 name="Google Shape;70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 name="Google Shape;70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 name="Google Shape;70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 name="Google Shape;71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 name="Google Shape;71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2" name="Google Shape;712;p38"/>
              <p:cNvGrpSpPr/>
              <p:nvPr/>
            </p:nvGrpSpPr>
            <p:grpSpPr>
              <a:xfrm>
                <a:off x="5373750" y="3631250"/>
                <a:ext cx="2724300" cy="302700"/>
                <a:chOff x="5373750" y="1209600"/>
                <a:chExt cx="2724300" cy="302700"/>
              </a:xfrm>
            </p:grpSpPr>
            <p:sp>
              <p:nvSpPr>
                <p:cNvPr id="713" name="Google Shape;71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 name="Google Shape;71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 name="Google Shape;71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 name="Google Shape;71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 name="Google Shape;71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 name="Google Shape;71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 name="Google Shape;71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 name="Google Shape;72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 name="Google Shape;72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22" name="Google Shape;722;p38"/>
            <p:cNvSpPr/>
            <p:nvPr/>
          </p:nvSpPr>
          <p:spPr>
            <a:xfrm>
              <a:off x="8310900" y="1404050"/>
              <a:ext cx="98700" cy="42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 name="Google Shape;723;p38"/>
            <p:cNvSpPr/>
            <p:nvPr/>
          </p:nvSpPr>
          <p:spPr>
            <a:xfrm>
              <a:off x="8298950" y="1446350"/>
              <a:ext cx="98700" cy="42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 name="Google Shape;724;p38"/>
            <p:cNvSpPr/>
            <p:nvPr/>
          </p:nvSpPr>
          <p:spPr>
            <a:xfrm>
              <a:off x="8381250" y="1512575"/>
              <a:ext cx="44100" cy="42300"/>
            </a:xfrm>
            <a:prstGeom prst="rect">
              <a:avLst/>
            </a:prstGeom>
            <a:solidFill>
              <a:srgbClr val="EAE5C4">
                <a:alpha val="312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 name="Google Shape;725;p38"/>
            <p:cNvSpPr/>
            <p:nvPr/>
          </p:nvSpPr>
          <p:spPr>
            <a:xfrm>
              <a:off x="8442250" y="1579900"/>
              <a:ext cx="98700" cy="42300"/>
            </a:xfrm>
            <a:prstGeom prst="rect">
              <a:avLst/>
            </a:prstGeom>
            <a:solidFill>
              <a:srgbClr val="EAE5C4">
                <a:alpha val="312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 name="Google Shape;726;p38"/>
            <p:cNvSpPr/>
            <p:nvPr/>
          </p:nvSpPr>
          <p:spPr>
            <a:xfrm>
              <a:off x="5086500" y="3577175"/>
              <a:ext cx="98700" cy="42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 name="Google Shape;727;p38"/>
            <p:cNvSpPr/>
            <p:nvPr/>
          </p:nvSpPr>
          <p:spPr>
            <a:xfrm>
              <a:off x="5086500" y="3619475"/>
              <a:ext cx="98700" cy="42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 name="Google Shape;728;p38"/>
            <p:cNvSpPr/>
            <p:nvPr/>
          </p:nvSpPr>
          <p:spPr>
            <a:xfrm>
              <a:off x="4980325" y="3503250"/>
              <a:ext cx="98700" cy="42300"/>
            </a:xfrm>
            <a:prstGeom prst="rect">
              <a:avLst/>
            </a:prstGeom>
            <a:solidFill>
              <a:srgbClr val="EAE5C4">
                <a:alpha val="312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 name="Google Shape;729;p38"/>
            <p:cNvSpPr/>
            <p:nvPr/>
          </p:nvSpPr>
          <p:spPr>
            <a:xfrm>
              <a:off x="4980325" y="3649750"/>
              <a:ext cx="50100" cy="42300"/>
            </a:xfrm>
            <a:prstGeom prst="rect">
              <a:avLst/>
            </a:prstGeom>
            <a:solidFill>
              <a:srgbClr val="EAE5C4">
                <a:alpha val="312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 name="Google Shape;730;p38"/>
            <p:cNvSpPr/>
            <p:nvPr/>
          </p:nvSpPr>
          <p:spPr>
            <a:xfrm>
              <a:off x="4847875" y="3577175"/>
              <a:ext cx="50100" cy="42300"/>
            </a:xfrm>
            <a:prstGeom prst="rect">
              <a:avLst/>
            </a:prstGeom>
            <a:solidFill>
              <a:srgbClr val="EAE5C4">
                <a:alpha val="312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 name="Google Shape;731;p38"/>
            <p:cNvSpPr/>
            <p:nvPr/>
          </p:nvSpPr>
          <p:spPr>
            <a:xfrm>
              <a:off x="5185200" y="3692050"/>
              <a:ext cx="50100" cy="42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32" name="Google Shape;732;p38"/>
          <p:cNvSpPr txBox="1">
            <a:spLocks noGrp="1"/>
          </p:cNvSpPr>
          <p:nvPr>
            <p:ph type="title"/>
          </p:nvPr>
        </p:nvSpPr>
        <p:spPr>
          <a:xfrm>
            <a:off x="1322903" y="512584"/>
            <a:ext cx="2962500" cy="563181"/>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INTERLACING</a:t>
            </a:r>
            <a:endParaRPr dirty="0"/>
          </a:p>
        </p:txBody>
      </p:sp>
      <p:grpSp>
        <p:nvGrpSpPr>
          <p:cNvPr id="733" name="Google Shape;733;p38"/>
          <p:cNvGrpSpPr/>
          <p:nvPr/>
        </p:nvGrpSpPr>
        <p:grpSpPr>
          <a:xfrm rot="-2700000">
            <a:off x="8133415" y="4288207"/>
            <a:ext cx="880780" cy="477899"/>
            <a:chOff x="1443025" y="1086275"/>
            <a:chExt cx="2111000" cy="1145400"/>
          </a:xfrm>
        </p:grpSpPr>
        <p:sp>
          <p:nvSpPr>
            <p:cNvPr id="734" name="Google Shape;734;p38"/>
            <p:cNvSpPr/>
            <p:nvPr/>
          </p:nvSpPr>
          <p:spPr>
            <a:xfrm>
              <a:off x="1443025" y="1086275"/>
              <a:ext cx="2111000" cy="229225"/>
            </a:xfrm>
            <a:custGeom>
              <a:avLst/>
              <a:gdLst/>
              <a:ahLst/>
              <a:cxnLst/>
              <a:rect l="l" t="t" r="r" b="b"/>
              <a:pathLst>
                <a:path w="84440" h="9169" extrusionOk="0">
                  <a:moveTo>
                    <a:pt x="84416" y="1679"/>
                  </a:moveTo>
                  <a:lnTo>
                    <a:pt x="84190" y="8883"/>
                  </a:lnTo>
                  <a:lnTo>
                    <a:pt x="274" y="9168"/>
                  </a:lnTo>
                  <a:lnTo>
                    <a:pt x="24" y="1703"/>
                  </a:lnTo>
                  <a:cubicBezTo>
                    <a:pt x="1" y="774"/>
                    <a:pt x="739" y="12"/>
                    <a:pt x="1667" y="12"/>
                  </a:cubicBezTo>
                  <a:lnTo>
                    <a:pt x="82785" y="12"/>
                  </a:lnTo>
                  <a:cubicBezTo>
                    <a:pt x="83701" y="1"/>
                    <a:pt x="84440" y="763"/>
                    <a:pt x="84416" y="1679"/>
                  </a:cubicBez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735;p38"/>
            <p:cNvSpPr/>
            <p:nvPr/>
          </p:nvSpPr>
          <p:spPr>
            <a:xfrm>
              <a:off x="1450175" y="1200575"/>
              <a:ext cx="2097600" cy="1031100"/>
            </a:xfrm>
            <a:custGeom>
              <a:avLst/>
              <a:gdLst/>
              <a:ahLst/>
              <a:cxnLst/>
              <a:rect l="l" t="t" r="r" b="b"/>
              <a:pathLst>
                <a:path w="83904" h="41244" extrusionOk="0">
                  <a:moveTo>
                    <a:pt x="82070" y="5418"/>
                  </a:moveTo>
                  <a:lnTo>
                    <a:pt x="82106" y="5418"/>
                  </a:lnTo>
                  <a:lnTo>
                    <a:pt x="82427" y="893"/>
                  </a:lnTo>
                  <a:cubicBezTo>
                    <a:pt x="82463" y="417"/>
                    <a:pt x="82082" y="1"/>
                    <a:pt x="81606" y="1"/>
                  </a:cubicBezTo>
                  <a:lnTo>
                    <a:pt x="2155" y="1"/>
                  </a:lnTo>
                  <a:cubicBezTo>
                    <a:pt x="1655" y="1"/>
                    <a:pt x="1286" y="417"/>
                    <a:pt x="1334" y="893"/>
                  </a:cubicBezTo>
                  <a:lnTo>
                    <a:pt x="1691" y="5025"/>
                  </a:lnTo>
                  <a:lnTo>
                    <a:pt x="0" y="5013"/>
                  </a:lnTo>
                  <a:lnTo>
                    <a:pt x="1072" y="37196"/>
                  </a:lnTo>
                  <a:cubicBezTo>
                    <a:pt x="1155" y="39303"/>
                    <a:pt x="2882" y="41006"/>
                    <a:pt x="5001" y="41006"/>
                  </a:cubicBezTo>
                  <a:lnTo>
                    <a:pt x="79070" y="41220"/>
                  </a:lnTo>
                  <a:cubicBezTo>
                    <a:pt x="81213" y="41244"/>
                    <a:pt x="82963" y="39529"/>
                    <a:pt x="83023" y="37386"/>
                  </a:cubicBezTo>
                  <a:lnTo>
                    <a:pt x="83904" y="5406"/>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736;p38"/>
            <p:cNvSpPr/>
            <p:nvPr/>
          </p:nvSpPr>
          <p:spPr>
            <a:xfrm>
              <a:off x="1471900" y="1218725"/>
              <a:ext cx="2053850" cy="995400"/>
            </a:xfrm>
            <a:custGeom>
              <a:avLst/>
              <a:gdLst/>
              <a:ahLst/>
              <a:cxnLst/>
              <a:rect l="l" t="t" r="r" b="b"/>
              <a:pathLst>
                <a:path w="82154" h="39816" extrusionOk="0">
                  <a:moveTo>
                    <a:pt x="4382" y="39601"/>
                  </a:moveTo>
                  <a:cubicBezTo>
                    <a:pt x="2560" y="39601"/>
                    <a:pt x="1108" y="38172"/>
                    <a:pt x="1048" y="36374"/>
                  </a:cubicBezTo>
                  <a:lnTo>
                    <a:pt x="0" y="4989"/>
                  </a:lnTo>
                  <a:lnTo>
                    <a:pt x="1715" y="5001"/>
                  </a:lnTo>
                  <a:lnTo>
                    <a:pt x="1298" y="275"/>
                  </a:lnTo>
                  <a:cubicBezTo>
                    <a:pt x="1286" y="179"/>
                    <a:pt x="1322" y="108"/>
                    <a:pt x="1358" y="72"/>
                  </a:cubicBezTo>
                  <a:cubicBezTo>
                    <a:pt x="1382" y="48"/>
                    <a:pt x="1441" y="1"/>
                    <a:pt x="1536" y="1"/>
                  </a:cubicBezTo>
                  <a:lnTo>
                    <a:pt x="80475" y="1"/>
                  </a:lnTo>
                  <a:cubicBezTo>
                    <a:pt x="80558" y="1"/>
                    <a:pt x="80618" y="48"/>
                    <a:pt x="80653" y="72"/>
                  </a:cubicBezTo>
                  <a:cubicBezTo>
                    <a:pt x="80677" y="108"/>
                    <a:pt x="80725" y="167"/>
                    <a:pt x="80713" y="275"/>
                  </a:cubicBezTo>
                  <a:lnTo>
                    <a:pt x="80403" y="5370"/>
                  </a:lnTo>
                  <a:lnTo>
                    <a:pt x="82154" y="5394"/>
                  </a:lnTo>
                  <a:lnTo>
                    <a:pt x="81320" y="36565"/>
                  </a:lnTo>
                  <a:cubicBezTo>
                    <a:pt x="81272" y="38398"/>
                    <a:pt x="79808" y="39815"/>
                    <a:pt x="77986" y="39815"/>
                  </a:cubicBezTo>
                  <a:cubicBezTo>
                    <a:pt x="77974" y="39815"/>
                    <a:pt x="4382" y="39601"/>
                    <a:pt x="4382" y="39601"/>
                  </a:cubicBezTo>
                  <a:close/>
                </a:path>
              </a:pathLst>
            </a:custGeom>
            <a:solidFill>
              <a:srgbClr val="2118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 name="Google Shape;737;p38"/>
            <p:cNvSpPr/>
            <p:nvPr/>
          </p:nvSpPr>
          <p:spPr>
            <a:xfrm>
              <a:off x="1471900" y="1412200"/>
              <a:ext cx="2052650" cy="581650"/>
            </a:xfrm>
            <a:custGeom>
              <a:avLst/>
              <a:gdLst/>
              <a:ahLst/>
              <a:cxnLst/>
              <a:rect l="l" t="t" r="r" b="b"/>
              <a:pathLst>
                <a:path w="82106" h="23266" extrusionOk="0">
                  <a:moveTo>
                    <a:pt x="10704" y="23266"/>
                  </a:moveTo>
                  <a:cubicBezTo>
                    <a:pt x="9811" y="23266"/>
                    <a:pt x="774" y="22301"/>
                    <a:pt x="774" y="22301"/>
                  </a:cubicBezTo>
                  <a:lnTo>
                    <a:pt x="0" y="1251"/>
                  </a:lnTo>
                  <a:cubicBezTo>
                    <a:pt x="0" y="1251"/>
                    <a:pt x="9287" y="310"/>
                    <a:pt x="10276" y="298"/>
                  </a:cubicBezTo>
                  <a:lnTo>
                    <a:pt x="12907" y="287"/>
                  </a:lnTo>
                  <a:lnTo>
                    <a:pt x="60603" y="48"/>
                  </a:lnTo>
                  <a:lnTo>
                    <a:pt x="71236" y="1"/>
                  </a:lnTo>
                  <a:lnTo>
                    <a:pt x="82106" y="1"/>
                  </a:lnTo>
                  <a:lnTo>
                    <a:pt x="81487" y="22694"/>
                  </a:lnTo>
                  <a:cubicBezTo>
                    <a:pt x="81487" y="22694"/>
                    <a:pt x="71986" y="23254"/>
                    <a:pt x="71033" y="23254"/>
                  </a:cubicBezTo>
                  <a:lnTo>
                    <a:pt x="10704" y="23254"/>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 name="Google Shape;738;p38"/>
            <p:cNvSpPr/>
            <p:nvPr/>
          </p:nvSpPr>
          <p:spPr>
            <a:xfrm>
              <a:off x="1574000" y="1437200"/>
              <a:ext cx="1814525" cy="532550"/>
            </a:xfrm>
            <a:custGeom>
              <a:avLst/>
              <a:gdLst/>
              <a:ahLst/>
              <a:cxnLst/>
              <a:rect l="l" t="t" r="r" b="b"/>
              <a:pathLst>
                <a:path w="72581" h="21302" extrusionOk="0">
                  <a:moveTo>
                    <a:pt x="68461" y="20230"/>
                  </a:moveTo>
                  <a:cubicBezTo>
                    <a:pt x="68104" y="20896"/>
                    <a:pt x="67413" y="21301"/>
                    <a:pt x="66675" y="21301"/>
                  </a:cubicBezTo>
                  <a:lnTo>
                    <a:pt x="6882" y="21301"/>
                  </a:lnTo>
                  <a:cubicBezTo>
                    <a:pt x="6203" y="21301"/>
                    <a:pt x="5560" y="20956"/>
                    <a:pt x="5191" y="20361"/>
                  </a:cubicBezTo>
                  <a:cubicBezTo>
                    <a:pt x="3596" y="17872"/>
                    <a:pt x="0" y="10621"/>
                    <a:pt x="4668" y="1394"/>
                  </a:cubicBezTo>
                  <a:cubicBezTo>
                    <a:pt x="5013" y="727"/>
                    <a:pt x="5691" y="311"/>
                    <a:pt x="6453" y="299"/>
                  </a:cubicBezTo>
                  <a:lnTo>
                    <a:pt x="9061" y="287"/>
                  </a:lnTo>
                  <a:lnTo>
                    <a:pt x="35386" y="144"/>
                  </a:lnTo>
                  <a:lnTo>
                    <a:pt x="46673" y="84"/>
                  </a:lnTo>
                  <a:lnTo>
                    <a:pt x="46673" y="84"/>
                  </a:lnTo>
                  <a:lnTo>
                    <a:pt x="56329" y="37"/>
                  </a:lnTo>
                  <a:lnTo>
                    <a:pt x="56329" y="37"/>
                  </a:lnTo>
                  <a:lnTo>
                    <a:pt x="66854" y="1"/>
                  </a:lnTo>
                  <a:cubicBezTo>
                    <a:pt x="67663" y="1"/>
                    <a:pt x="68414" y="501"/>
                    <a:pt x="68735" y="1275"/>
                  </a:cubicBezTo>
                  <a:cubicBezTo>
                    <a:pt x="70021" y="4418"/>
                    <a:pt x="72581" y="12622"/>
                    <a:pt x="68461" y="20230"/>
                  </a:cubicBezTo>
                  <a:close/>
                </a:path>
              </a:pathLst>
            </a:custGeom>
            <a:solidFill>
              <a:srgbClr val="8A70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 name="Google Shape;739;p38"/>
            <p:cNvSpPr/>
            <p:nvPr/>
          </p:nvSpPr>
          <p:spPr>
            <a:xfrm>
              <a:off x="1703475" y="1441675"/>
              <a:ext cx="855500" cy="528075"/>
            </a:xfrm>
            <a:custGeom>
              <a:avLst/>
              <a:gdLst/>
              <a:ahLst/>
              <a:cxnLst/>
              <a:rect l="l" t="t" r="r" b="b"/>
              <a:pathLst>
                <a:path w="34220" h="21123" extrusionOk="0">
                  <a:moveTo>
                    <a:pt x="34219" y="11002"/>
                  </a:moveTo>
                  <a:cubicBezTo>
                    <a:pt x="34219" y="14776"/>
                    <a:pt x="32993" y="18289"/>
                    <a:pt x="30909" y="21122"/>
                  </a:cubicBezTo>
                  <a:lnTo>
                    <a:pt x="3310" y="21122"/>
                  </a:lnTo>
                  <a:cubicBezTo>
                    <a:pt x="1227" y="18289"/>
                    <a:pt x="0" y="14776"/>
                    <a:pt x="0" y="11002"/>
                  </a:cubicBezTo>
                  <a:cubicBezTo>
                    <a:pt x="0" y="6870"/>
                    <a:pt x="1453" y="3084"/>
                    <a:pt x="3894" y="132"/>
                  </a:cubicBezTo>
                  <a:lnTo>
                    <a:pt x="30219" y="1"/>
                  </a:lnTo>
                  <a:cubicBezTo>
                    <a:pt x="32707" y="2977"/>
                    <a:pt x="34219" y="6811"/>
                    <a:pt x="34219" y="11002"/>
                  </a:cubicBezTo>
                  <a:close/>
                </a:path>
              </a:pathLst>
            </a:custGeom>
            <a:solidFill>
              <a:srgbClr val="0C152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 name="Google Shape;740;p38"/>
            <p:cNvSpPr/>
            <p:nvPr/>
          </p:nvSpPr>
          <p:spPr>
            <a:xfrm>
              <a:off x="1931475" y="1516975"/>
              <a:ext cx="399775" cy="399475"/>
            </a:xfrm>
            <a:custGeom>
              <a:avLst/>
              <a:gdLst/>
              <a:ahLst/>
              <a:cxnLst/>
              <a:rect l="l" t="t" r="r" b="b"/>
              <a:pathLst>
                <a:path w="15991" h="15979" extrusionOk="0">
                  <a:moveTo>
                    <a:pt x="9192" y="668"/>
                  </a:moveTo>
                  <a:cubicBezTo>
                    <a:pt x="13240" y="1322"/>
                    <a:pt x="15991" y="5144"/>
                    <a:pt x="15324" y="9192"/>
                  </a:cubicBezTo>
                  <a:cubicBezTo>
                    <a:pt x="14657" y="13241"/>
                    <a:pt x="10847" y="15979"/>
                    <a:pt x="6799" y="15324"/>
                  </a:cubicBezTo>
                  <a:cubicBezTo>
                    <a:pt x="2751" y="14657"/>
                    <a:pt x="1" y="10847"/>
                    <a:pt x="667" y="6799"/>
                  </a:cubicBezTo>
                  <a:cubicBezTo>
                    <a:pt x="1322" y="2751"/>
                    <a:pt x="5144" y="1"/>
                    <a:pt x="9192" y="668"/>
                  </a:cubicBezTo>
                  <a:close/>
                </a:path>
              </a:pathLst>
            </a:custGeom>
            <a:solidFill>
              <a:srgbClr val="CCCAC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 name="Google Shape;741;p38"/>
            <p:cNvSpPr/>
            <p:nvPr/>
          </p:nvSpPr>
          <p:spPr>
            <a:xfrm>
              <a:off x="1955300" y="1540500"/>
              <a:ext cx="351850" cy="352150"/>
            </a:xfrm>
            <a:custGeom>
              <a:avLst/>
              <a:gdLst/>
              <a:ahLst/>
              <a:cxnLst/>
              <a:rect l="l" t="t" r="r" b="b"/>
              <a:pathLst>
                <a:path w="14074" h="14086" extrusionOk="0">
                  <a:moveTo>
                    <a:pt x="7025" y="0"/>
                  </a:moveTo>
                  <a:lnTo>
                    <a:pt x="7037" y="1239"/>
                  </a:lnTo>
                  <a:cubicBezTo>
                    <a:pt x="8180" y="1239"/>
                    <a:pt x="9299" y="1584"/>
                    <a:pt x="10251" y="2203"/>
                  </a:cubicBezTo>
                  <a:lnTo>
                    <a:pt x="10918" y="1179"/>
                  </a:lnTo>
                  <a:cubicBezTo>
                    <a:pt x="9775" y="405"/>
                    <a:pt x="8418" y="0"/>
                    <a:pt x="7037" y="0"/>
                  </a:cubicBezTo>
                  <a:close/>
                  <a:moveTo>
                    <a:pt x="5644" y="155"/>
                  </a:moveTo>
                  <a:cubicBezTo>
                    <a:pt x="4275" y="417"/>
                    <a:pt x="3024" y="1096"/>
                    <a:pt x="2036" y="2084"/>
                  </a:cubicBezTo>
                  <a:lnTo>
                    <a:pt x="2917" y="2953"/>
                  </a:lnTo>
                  <a:cubicBezTo>
                    <a:pt x="3739" y="2132"/>
                    <a:pt x="4763" y="1584"/>
                    <a:pt x="5882" y="1358"/>
                  </a:cubicBezTo>
                  <a:lnTo>
                    <a:pt x="5644" y="155"/>
                  </a:lnTo>
                  <a:close/>
                  <a:moveTo>
                    <a:pt x="11978" y="2060"/>
                  </a:moveTo>
                  <a:lnTo>
                    <a:pt x="11121" y="2941"/>
                  </a:lnTo>
                  <a:cubicBezTo>
                    <a:pt x="11942" y="3751"/>
                    <a:pt x="12502" y="4763"/>
                    <a:pt x="12728" y="5894"/>
                  </a:cubicBezTo>
                  <a:lnTo>
                    <a:pt x="13919" y="5644"/>
                  </a:lnTo>
                  <a:cubicBezTo>
                    <a:pt x="13645" y="4287"/>
                    <a:pt x="12978" y="3036"/>
                    <a:pt x="11978" y="2060"/>
                  </a:cubicBezTo>
                  <a:close/>
                  <a:moveTo>
                    <a:pt x="1179" y="3144"/>
                  </a:moveTo>
                  <a:cubicBezTo>
                    <a:pt x="405" y="4310"/>
                    <a:pt x="0" y="5656"/>
                    <a:pt x="0" y="7061"/>
                  </a:cubicBezTo>
                  <a:lnTo>
                    <a:pt x="1227" y="7049"/>
                  </a:lnTo>
                  <a:cubicBezTo>
                    <a:pt x="1227" y="5894"/>
                    <a:pt x="1560" y="4787"/>
                    <a:pt x="2203" y="3834"/>
                  </a:cubicBezTo>
                  <a:lnTo>
                    <a:pt x="1179" y="3144"/>
                  </a:lnTo>
                  <a:close/>
                  <a:moveTo>
                    <a:pt x="14073" y="7013"/>
                  </a:moveTo>
                  <a:lnTo>
                    <a:pt x="12847" y="7049"/>
                  </a:lnTo>
                  <a:cubicBezTo>
                    <a:pt x="12847" y="8204"/>
                    <a:pt x="12502" y="9323"/>
                    <a:pt x="11859" y="10275"/>
                  </a:cubicBezTo>
                  <a:lnTo>
                    <a:pt x="12883" y="10954"/>
                  </a:lnTo>
                  <a:cubicBezTo>
                    <a:pt x="13657" y="9799"/>
                    <a:pt x="14073" y="8442"/>
                    <a:pt x="14073" y="7049"/>
                  </a:cubicBezTo>
                  <a:lnTo>
                    <a:pt x="14073" y="7013"/>
                  </a:lnTo>
                  <a:close/>
                  <a:moveTo>
                    <a:pt x="1334" y="8192"/>
                  </a:moveTo>
                  <a:lnTo>
                    <a:pt x="131" y="8430"/>
                  </a:lnTo>
                  <a:cubicBezTo>
                    <a:pt x="417" y="9799"/>
                    <a:pt x="1072" y="11049"/>
                    <a:pt x="2072" y="12026"/>
                  </a:cubicBezTo>
                  <a:lnTo>
                    <a:pt x="2929" y="11157"/>
                  </a:lnTo>
                  <a:cubicBezTo>
                    <a:pt x="2108" y="10347"/>
                    <a:pt x="1560" y="9323"/>
                    <a:pt x="1334" y="8192"/>
                  </a:cubicBezTo>
                  <a:close/>
                  <a:moveTo>
                    <a:pt x="11144" y="11145"/>
                  </a:moveTo>
                  <a:cubicBezTo>
                    <a:pt x="10347" y="11966"/>
                    <a:pt x="9311" y="12514"/>
                    <a:pt x="8180" y="12740"/>
                  </a:cubicBezTo>
                  <a:lnTo>
                    <a:pt x="8418" y="13955"/>
                  </a:lnTo>
                  <a:cubicBezTo>
                    <a:pt x="9775" y="13681"/>
                    <a:pt x="11025" y="13014"/>
                    <a:pt x="12002" y="12014"/>
                  </a:cubicBezTo>
                  <a:lnTo>
                    <a:pt x="11144" y="11145"/>
                  </a:lnTo>
                  <a:close/>
                  <a:moveTo>
                    <a:pt x="3810" y="11883"/>
                  </a:moveTo>
                  <a:lnTo>
                    <a:pt x="3120" y="12907"/>
                  </a:lnTo>
                  <a:cubicBezTo>
                    <a:pt x="4286" y="13681"/>
                    <a:pt x="5644" y="14085"/>
                    <a:pt x="7037" y="14085"/>
                  </a:cubicBezTo>
                  <a:lnTo>
                    <a:pt x="7025" y="12847"/>
                  </a:lnTo>
                  <a:cubicBezTo>
                    <a:pt x="5882" y="12847"/>
                    <a:pt x="4763" y="12526"/>
                    <a:pt x="3810" y="11883"/>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 name="Google Shape;742;p38"/>
            <p:cNvSpPr/>
            <p:nvPr/>
          </p:nvSpPr>
          <p:spPr>
            <a:xfrm>
              <a:off x="2073450" y="1659250"/>
              <a:ext cx="115525" cy="115525"/>
            </a:xfrm>
            <a:custGeom>
              <a:avLst/>
              <a:gdLst/>
              <a:ahLst/>
              <a:cxnLst/>
              <a:rect l="l" t="t" r="r" b="b"/>
              <a:pathLst>
                <a:path w="4621" h="4621" extrusionOk="0">
                  <a:moveTo>
                    <a:pt x="4621" y="2311"/>
                  </a:moveTo>
                  <a:cubicBezTo>
                    <a:pt x="4621" y="3585"/>
                    <a:pt x="3597" y="4621"/>
                    <a:pt x="2311" y="4621"/>
                  </a:cubicBezTo>
                  <a:cubicBezTo>
                    <a:pt x="1025" y="4621"/>
                    <a:pt x="1" y="3585"/>
                    <a:pt x="1" y="2311"/>
                  </a:cubicBezTo>
                  <a:cubicBezTo>
                    <a:pt x="1" y="1025"/>
                    <a:pt x="1025" y="1"/>
                    <a:pt x="2311" y="1"/>
                  </a:cubicBezTo>
                  <a:cubicBezTo>
                    <a:pt x="3597" y="1"/>
                    <a:pt x="4621" y="1025"/>
                    <a:pt x="4621" y="2311"/>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 name="Google Shape;743;p38"/>
            <p:cNvSpPr/>
            <p:nvPr/>
          </p:nvSpPr>
          <p:spPr>
            <a:xfrm>
              <a:off x="2104725" y="1690525"/>
              <a:ext cx="53000" cy="53000"/>
            </a:xfrm>
            <a:custGeom>
              <a:avLst/>
              <a:gdLst/>
              <a:ahLst/>
              <a:cxnLst/>
              <a:rect l="l" t="t" r="r" b="b"/>
              <a:pathLst>
                <a:path w="2120" h="2120" extrusionOk="0">
                  <a:moveTo>
                    <a:pt x="2119" y="1060"/>
                  </a:moveTo>
                  <a:cubicBezTo>
                    <a:pt x="2119" y="1643"/>
                    <a:pt x="1643" y="2119"/>
                    <a:pt x="1060" y="2119"/>
                  </a:cubicBezTo>
                  <a:cubicBezTo>
                    <a:pt x="476" y="2119"/>
                    <a:pt x="0" y="1643"/>
                    <a:pt x="0" y="1060"/>
                  </a:cubicBezTo>
                  <a:cubicBezTo>
                    <a:pt x="0" y="476"/>
                    <a:pt x="476" y="0"/>
                    <a:pt x="1060" y="0"/>
                  </a:cubicBezTo>
                  <a:cubicBezTo>
                    <a:pt x="1643" y="0"/>
                    <a:pt x="2119" y="464"/>
                    <a:pt x="2119" y="1060"/>
                  </a:cubicBezTo>
                  <a:close/>
                </a:path>
              </a:pathLst>
            </a:custGeom>
            <a:solidFill>
              <a:srgbClr val="6B6A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 name="Google Shape;744;p38"/>
            <p:cNvSpPr/>
            <p:nvPr/>
          </p:nvSpPr>
          <p:spPr>
            <a:xfrm>
              <a:off x="1946650" y="1731900"/>
              <a:ext cx="96175" cy="128300"/>
            </a:xfrm>
            <a:custGeom>
              <a:avLst/>
              <a:gdLst/>
              <a:ahLst/>
              <a:cxnLst/>
              <a:rect l="l" t="t" r="r" b="b"/>
              <a:pathLst>
                <a:path w="3847" h="5132" extrusionOk="0">
                  <a:moveTo>
                    <a:pt x="2668" y="5132"/>
                  </a:moveTo>
                  <a:lnTo>
                    <a:pt x="3847" y="3691"/>
                  </a:lnTo>
                  <a:cubicBezTo>
                    <a:pt x="3847" y="3691"/>
                    <a:pt x="1918" y="2274"/>
                    <a:pt x="1894" y="0"/>
                  </a:cubicBezTo>
                  <a:lnTo>
                    <a:pt x="13" y="286"/>
                  </a:lnTo>
                  <a:cubicBezTo>
                    <a:pt x="1" y="298"/>
                    <a:pt x="156" y="3000"/>
                    <a:pt x="2668" y="5132"/>
                  </a:cubicBezTo>
                  <a:close/>
                </a:path>
              </a:pathLst>
            </a:custGeom>
            <a:solidFill>
              <a:srgbClr val="9B113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 name="Google Shape;745;p38"/>
            <p:cNvSpPr/>
            <p:nvPr/>
          </p:nvSpPr>
          <p:spPr>
            <a:xfrm>
              <a:off x="2561325" y="1439000"/>
              <a:ext cx="603975" cy="530750"/>
            </a:xfrm>
            <a:custGeom>
              <a:avLst/>
              <a:gdLst/>
              <a:ahLst/>
              <a:cxnLst/>
              <a:rect l="l" t="t" r="r" b="b"/>
              <a:pathLst>
                <a:path w="24159" h="21230" extrusionOk="0">
                  <a:moveTo>
                    <a:pt x="24158" y="11109"/>
                  </a:moveTo>
                  <a:cubicBezTo>
                    <a:pt x="24158" y="15348"/>
                    <a:pt x="21967" y="19086"/>
                    <a:pt x="18669" y="21229"/>
                  </a:cubicBezTo>
                  <a:lnTo>
                    <a:pt x="5489" y="21229"/>
                  </a:lnTo>
                  <a:cubicBezTo>
                    <a:pt x="2191" y="19062"/>
                    <a:pt x="0" y="15348"/>
                    <a:pt x="0" y="11109"/>
                  </a:cubicBezTo>
                  <a:cubicBezTo>
                    <a:pt x="0" y="6180"/>
                    <a:pt x="2965" y="1941"/>
                    <a:pt x="7192" y="48"/>
                  </a:cubicBezTo>
                  <a:lnTo>
                    <a:pt x="7192" y="48"/>
                  </a:lnTo>
                  <a:lnTo>
                    <a:pt x="16848" y="0"/>
                  </a:lnTo>
                  <a:lnTo>
                    <a:pt x="16848" y="0"/>
                  </a:lnTo>
                  <a:cubicBezTo>
                    <a:pt x="21146" y="1858"/>
                    <a:pt x="24158" y="6132"/>
                    <a:pt x="24158" y="11109"/>
                  </a:cubicBezTo>
                  <a:close/>
                </a:path>
              </a:pathLst>
            </a:custGeom>
            <a:solidFill>
              <a:srgbClr val="0C152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 name="Google Shape;746;p38"/>
            <p:cNvSpPr/>
            <p:nvPr/>
          </p:nvSpPr>
          <p:spPr>
            <a:xfrm>
              <a:off x="2663425" y="1516975"/>
              <a:ext cx="399475" cy="399775"/>
            </a:xfrm>
            <a:custGeom>
              <a:avLst/>
              <a:gdLst/>
              <a:ahLst/>
              <a:cxnLst/>
              <a:rect l="l" t="t" r="r" b="b"/>
              <a:pathLst>
                <a:path w="15979" h="15991" extrusionOk="0">
                  <a:moveTo>
                    <a:pt x="9192" y="668"/>
                  </a:moveTo>
                  <a:cubicBezTo>
                    <a:pt x="13240" y="1322"/>
                    <a:pt x="15978" y="5144"/>
                    <a:pt x="15323" y="9192"/>
                  </a:cubicBezTo>
                  <a:cubicBezTo>
                    <a:pt x="14657" y="13241"/>
                    <a:pt x="10847" y="15991"/>
                    <a:pt x="6799" y="15324"/>
                  </a:cubicBezTo>
                  <a:cubicBezTo>
                    <a:pt x="2750" y="14657"/>
                    <a:pt x="0" y="10847"/>
                    <a:pt x="667" y="6799"/>
                  </a:cubicBezTo>
                  <a:cubicBezTo>
                    <a:pt x="1322" y="2751"/>
                    <a:pt x="5144" y="1"/>
                    <a:pt x="9192" y="668"/>
                  </a:cubicBezTo>
                  <a:close/>
                </a:path>
              </a:pathLst>
            </a:custGeom>
            <a:solidFill>
              <a:srgbClr val="CCCAC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 name="Google Shape;747;p38"/>
            <p:cNvSpPr/>
            <p:nvPr/>
          </p:nvSpPr>
          <p:spPr>
            <a:xfrm>
              <a:off x="2687225" y="1540500"/>
              <a:ext cx="351850" cy="352150"/>
            </a:xfrm>
            <a:custGeom>
              <a:avLst/>
              <a:gdLst/>
              <a:ahLst/>
              <a:cxnLst/>
              <a:rect l="l" t="t" r="r" b="b"/>
              <a:pathLst>
                <a:path w="14074" h="14086" extrusionOk="0">
                  <a:moveTo>
                    <a:pt x="7025" y="0"/>
                  </a:moveTo>
                  <a:lnTo>
                    <a:pt x="7037" y="1239"/>
                  </a:lnTo>
                  <a:cubicBezTo>
                    <a:pt x="8180" y="1239"/>
                    <a:pt x="9299" y="1584"/>
                    <a:pt x="10252" y="2203"/>
                  </a:cubicBezTo>
                  <a:lnTo>
                    <a:pt x="10919" y="1179"/>
                  </a:lnTo>
                  <a:cubicBezTo>
                    <a:pt x="9776" y="405"/>
                    <a:pt x="8418" y="0"/>
                    <a:pt x="7037" y="0"/>
                  </a:cubicBezTo>
                  <a:close/>
                  <a:moveTo>
                    <a:pt x="5656" y="155"/>
                  </a:moveTo>
                  <a:cubicBezTo>
                    <a:pt x="4287" y="417"/>
                    <a:pt x="3037" y="1096"/>
                    <a:pt x="2049" y="2084"/>
                  </a:cubicBezTo>
                  <a:lnTo>
                    <a:pt x="2930" y="2953"/>
                  </a:lnTo>
                  <a:cubicBezTo>
                    <a:pt x="3727" y="2132"/>
                    <a:pt x="4763" y="1584"/>
                    <a:pt x="5894" y="1358"/>
                  </a:cubicBezTo>
                  <a:lnTo>
                    <a:pt x="5656" y="155"/>
                  </a:lnTo>
                  <a:close/>
                  <a:moveTo>
                    <a:pt x="11990" y="2060"/>
                  </a:moveTo>
                  <a:lnTo>
                    <a:pt x="11133" y="2941"/>
                  </a:lnTo>
                  <a:cubicBezTo>
                    <a:pt x="11955" y="3751"/>
                    <a:pt x="12514" y="4763"/>
                    <a:pt x="12740" y="5894"/>
                  </a:cubicBezTo>
                  <a:lnTo>
                    <a:pt x="13931" y="5644"/>
                  </a:lnTo>
                  <a:cubicBezTo>
                    <a:pt x="13657" y="4287"/>
                    <a:pt x="12990" y="3036"/>
                    <a:pt x="11990" y="2060"/>
                  </a:cubicBezTo>
                  <a:close/>
                  <a:moveTo>
                    <a:pt x="1167" y="3144"/>
                  </a:moveTo>
                  <a:cubicBezTo>
                    <a:pt x="394" y="4310"/>
                    <a:pt x="1" y="5656"/>
                    <a:pt x="1" y="7061"/>
                  </a:cubicBezTo>
                  <a:lnTo>
                    <a:pt x="1227" y="7049"/>
                  </a:lnTo>
                  <a:cubicBezTo>
                    <a:pt x="1227" y="5894"/>
                    <a:pt x="1560" y="4787"/>
                    <a:pt x="2203" y="3834"/>
                  </a:cubicBezTo>
                  <a:lnTo>
                    <a:pt x="1167" y="3144"/>
                  </a:lnTo>
                  <a:close/>
                  <a:moveTo>
                    <a:pt x="14074" y="7013"/>
                  </a:moveTo>
                  <a:lnTo>
                    <a:pt x="12836" y="7049"/>
                  </a:lnTo>
                  <a:cubicBezTo>
                    <a:pt x="12836" y="8204"/>
                    <a:pt x="12502" y="9323"/>
                    <a:pt x="11859" y="10275"/>
                  </a:cubicBezTo>
                  <a:lnTo>
                    <a:pt x="12883" y="10954"/>
                  </a:lnTo>
                  <a:cubicBezTo>
                    <a:pt x="13657" y="9799"/>
                    <a:pt x="14074" y="8442"/>
                    <a:pt x="14074" y="7049"/>
                  </a:cubicBezTo>
                  <a:lnTo>
                    <a:pt x="14074" y="7013"/>
                  </a:lnTo>
                  <a:close/>
                  <a:moveTo>
                    <a:pt x="1334" y="8192"/>
                  </a:moveTo>
                  <a:lnTo>
                    <a:pt x="132" y="8430"/>
                  </a:lnTo>
                  <a:cubicBezTo>
                    <a:pt x="417" y="9799"/>
                    <a:pt x="1072" y="11049"/>
                    <a:pt x="2060" y="12026"/>
                  </a:cubicBezTo>
                  <a:lnTo>
                    <a:pt x="2930" y="11157"/>
                  </a:lnTo>
                  <a:cubicBezTo>
                    <a:pt x="2108" y="10347"/>
                    <a:pt x="1560" y="9323"/>
                    <a:pt x="1334" y="8192"/>
                  </a:cubicBezTo>
                  <a:close/>
                  <a:moveTo>
                    <a:pt x="11145" y="11145"/>
                  </a:moveTo>
                  <a:cubicBezTo>
                    <a:pt x="10335" y="11966"/>
                    <a:pt x="9311" y="12514"/>
                    <a:pt x="8180" y="12740"/>
                  </a:cubicBezTo>
                  <a:lnTo>
                    <a:pt x="8418" y="13955"/>
                  </a:lnTo>
                  <a:cubicBezTo>
                    <a:pt x="9776" y="13681"/>
                    <a:pt x="11026" y="13014"/>
                    <a:pt x="12002" y="12014"/>
                  </a:cubicBezTo>
                  <a:lnTo>
                    <a:pt x="11145" y="11145"/>
                  </a:lnTo>
                  <a:close/>
                  <a:moveTo>
                    <a:pt x="3823" y="11883"/>
                  </a:moveTo>
                  <a:lnTo>
                    <a:pt x="3132" y="12907"/>
                  </a:lnTo>
                  <a:cubicBezTo>
                    <a:pt x="4299" y="13681"/>
                    <a:pt x="5656" y="14085"/>
                    <a:pt x="7049" y="14085"/>
                  </a:cubicBezTo>
                  <a:lnTo>
                    <a:pt x="7037" y="12847"/>
                  </a:lnTo>
                  <a:cubicBezTo>
                    <a:pt x="5894" y="12847"/>
                    <a:pt x="4775" y="12526"/>
                    <a:pt x="3823" y="11883"/>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748;p38"/>
            <p:cNvSpPr/>
            <p:nvPr/>
          </p:nvSpPr>
          <p:spPr>
            <a:xfrm>
              <a:off x="2805400" y="1659250"/>
              <a:ext cx="115525" cy="115525"/>
            </a:xfrm>
            <a:custGeom>
              <a:avLst/>
              <a:gdLst/>
              <a:ahLst/>
              <a:cxnLst/>
              <a:rect l="l" t="t" r="r" b="b"/>
              <a:pathLst>
                <a:path w="4621" h="4621" extrusionOk="0">
                  <a:moveTo>
                    <a:pt x="4620" y="2311"/>
                  </a:moveTo>
                  <a:cubicBezTo>
                    <a:pt x="4620" y="3585"/>
                    <a:pt x="3584" y="4621"/>
                    <a:pt x="2310" y="4621"/>
                  </a:cubicBezTo>
                  <a:cubicBezTo>
                    <a:pt x="1024" y="4621"/>
                    <a:pt x="0" y="3585"/>
                    <a:pt x="0" y="2311"/>
                  </a:cubicBezTo>
                  <a:cubicBezTo>
                    <a:pt x="0" y="1025"/>
                    <a:pt x="1024" y="1"/>
                    <a:pt x="2310" y="1"/>
                  </a:cubicBezTo>
                  <a:cubicBezTo>
                    <a:pt x="3584" y="1"/>
                    <a:pt x="4620" y="1025"/>
                    <a:pt x="4620" y="2311"/>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 name="Google Shape;749;p38"/>
            <p:cNvSpPr/>
            <p:nvPr/>
          </p:nvSpPr>
          <p:spPr>
            <a:xfrm>
              <a:off x="2836650" y="1690525"/>
              <a:ext cx="53000" cy="53000"/>
            </a:xfrm>
            <a:custGeom>
              <a:avLst/>
              <a:gdLst/>
              <a:ahLst/>
              <a:cxnLst/>
              <a:rect l="l" t="t" r="r" b="b"/>
              <a:pathLst>
                <a:path w="2120" h="2120" extrusionOk="0">
                  <a:moveTo>
                    <a:pt x="2120" y="1060"/>
                  </a:moveTo>
                  <a:cubicBezTo>
                    <a:pt x="2120" y="1643"/>
                    <a:pt x="1644" y="2119"/>
                    <a:pt x="1060" y="2119"/>
                  </a:cubicBezTo>
                  <a:cubicBezTo>
                    <a:pt x="477" y="2119"/>
                    <a:pt x="1" y="1643"/>
                    <a:pt x="1" y="1060"/>
                  </a:cubicBezTo>
                  <a:cubicBezTo>
                    <a:pt x="1" y="476"/>
                    <a:pt x="477" y="0"/>
                    <a:pt x="1060" y="0"/>
                  </a:cubicBezTo>
                  <a:cubicBezTo>
                    <a:pt x="1644" y="0"/>
                    <a:pt x="2120" y="464"/>
                    <a:pt x="2120" y="1060"/>
                  </a:cubicBezTo>
                  <a:close/>
                </a:path>
              </a:pathLst>
            </a:custGeom>
            <a:solidFill>
              <a:srgbClr val="6B6A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 name="Google Shape;750;p38"/>
            <p:cNvSpPr/>
            <p:nvPr/>
          </p:nvSpPr>
          <p:spPr>
            <a:xfrm>
              <a:off x="1473100" y="1193125"/>
              <a:ext cx="2043725" cy="122075"/>
            </a:xfrm>
            <a:custGeom>
              <a:avLst/>
              <a:gdLst/>
              <a:ahLst/>
              <a:cxnLst/>
              <a:rect l="l" t="t" r="r" b="b"/>
              <a:pathLst>
                <a:path w="81749" h="4883" extrusionOk="0">
                  <a:moveTo>
                    <a:pt x="726" y="4882"/>
                  </a:moveTo>
                  <a:lnTo>
                    <a:pt x="357" y="1334"/>
                  </a:lnTo>
                  <a:cubicBezTo>
                    <a:pt x="298" y="787"/>
                    <a:pt x="726" y="299"/>
                    <a:pt x="1298" y="299"/>
                  </a:cubicBezTo>
                  <a:lnTo>
                    <a:pt x="80772" y="299"/>
                  </a:lnTo>
                  <a:cubicBezTo>
                    <a:pt x="81248" y="299"/>
                    <a:pt x="81617" y="703"/>
                    <a:pt x="81570" y="1180"/>
                  </a:cubicBezTo>
                  <a:lnTo>
                    <a:pt x="81260" y="4597"/>
                  </a:lnTo>
                  <a:lnTo>
                    <a:pt x="81427" y="4597"/>
                  </a:lnTo>
                  <a:lnTo>
                    <a:pt x="81725" y="834"/>
                  </a:lnTo>
                  <a:cubicBezTo>
                    <a:pt x="81748" y="382"/>
                    <a:pt x="81403" y="1"/>
                    <a:pt x="80951" y="1"/>
                  </a:cubicBezTo>
                  <a:lnTo>
                    <a:pt x="1262" y="1"/>
                  </a:lnTo>
                  <a:cubicBezTo>
                    <a:pt x="548" y="1"/>
                    <a:pt x="0" y="608"/>
                    <a:pt x="71" y="1322"/>
                  </a:cubicBezTo>
                  <a:lnTo>
                    <a:pt x="429" y="4882"/>
                  </a:lnTo>
                  <a:lnTo>
                    <a:pt x="726" y="4882"/>
                  </a:lnTo>
                  <a:close/>
                </a:path>
              </a:pathLst>
            </a:custGeom>
            <a:solidFill>
              <a:srgbClr val="2118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 name="Google Shape;751;p38"/>
            <p:cNvSpPr/>
            <p:nvPr/>
          </p:nvSpPr>
          <p:spPr>
            <a:xfrm>
              <a:off x="2059775" y="1414000"/>
              <a:ext cx="881375" cy="579850"/>
            </a:xfrm>
            <a:custGeom>
              <a:avLst/>
              <a:gdLst/>
              <a:ahLst/>
              <a:cxnLst/>
              <a:rect l="l" t="t" r="r" b="b"/>
              <a:pathLst>
                <a:path w="35255" h="23194" extrusionOk="0">
                  <a:moveTo>
                    <a:pt x="0" y="96"/>
                  </a:moveTo>
                  <a:lnTo>
                    <a:pt x="1310" y="23194"/>
                  </a:lnTo>
                  <a:lnTo>
                    <a:pt x="34481" y="23194"/>
                  </a:lnTo>
                  <a:lnTo>
                    <a:pt x="35255" y="0"/>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 name="Google Shape;752;p38"/>
            <p:cNvSpPr/>
            <p:nvPr/>
          </p:nvSpPr>
          <p:spPr>
            <a:xfrm>
              <a:off x="2135075" y="1444650"/>
              <a:ext cx="743575" cy="525400"/>
            </a:xfrm>
            <a:custGeom>
              <a:avLst/>
              <a:gdLst/>
              <a:ahLst/>
              <a:cxnLst/>
              <a:rect l="l" t="t" r="r" b="b"/>
              <a:pathLst>
                <a:path w="29743" h="21016" extrusionOk="0">
                  <a:moveTo>
                    <a:pt x="2060" y="21003"/>
                  </a:moveTo>
                  <a:lnTo>
                    <a:pt x="27825" y="20848"/>
                  </a:lnTo>
                  <a:cubicBezTo>
                    <a:pt x="28373" y="20848"/>
                    <a:pt x="28837" y="20444"/>
                    <a:pt x="28849" y="19944"/>
                  </a:cubicBezTo>
                  <a:lnTo>
                    <a:pt x="29719" y="977"/>
                  </a:lnTo>
                  <a:cubicBezTo>
                    <a:pt x="29742" y="441"/>
                    <a:pt x="29266" y="1"/>
                    <a:pt x="28671" y="1"/>
                  </a:cubicBezTo>
                  <a:lnTo>
                    <a:pt x="1072" y="1"/>
                  </a:lnTo>
                  <a:cubicBezTo>
                    <a:pt x="477" y="1"/>
                    <a:pt x="1" y="441"/>
                    <a:pt x="24" y="989"/>
                  </a:cubicBezTo>
                  <a:lnTo>
                    <a:pt x="1024" y="20098"/>
                  </a:lnTo>
                  <a:cubicBezTo>
                    <a:pt x="1048" y="20610"/>
                    <a:pt x="1513" y="21015"/>
                    <a:pt x="2060" y="21003"/>
                  </a:cubicBezTo>
                  <a:close/>
                </a:path>
              </a:pathLst>
            </a:custGeom>
            <a:solidFill>
              <a:srgbClr val="2118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 name="Google Shape;753;p38"/>
            <p:cNvSpPr/>
            <p:nvPr/>
          </p:nvSpPr>
          <p:spPr>
            <a:xfrm>
              <a:off x="2145800" y="1451800"/>
              <a:ext cx="723025" cy="510800"/>
            </a:xfrm>
            <a:custGeom>
              <a:avLst/>
              <a:gdLst/>
              <a:ahLst/>
              <a:cxnLst/>
              <a:rect l="l" t="t" r="r" b="b"/>
              <a:pathLst>
                <a:path w="28921" h="20432" extrusionOk="0">
                  <a:moveTo>
                    <a:pt x="28897" y="965"/>
                  </a:moveTo>
                  <a:lnTo>
                    <a:pt x="28813" y="2882"/>
                  </a:lnTo>
                  <a:lnTo>
                    <a:pt x="28813" y="2882"/>
                  </a:lnTo>
                  <a:lnTo>
                    <a:pt x="28539" y="8763"/>
                  </a:lnTo>
                  <a:lnTo>
                    <a:pt x="28147" y="17562"/>
                  </a:lnTo>
                  <a:lnTo>
                    <a:pt x="28051" y="19408"/>
                  </a:lnTo>
                  <a:cubicBezTo>
                    <a:pt x="28016" y="19896"/>
                    <a:pt x="27587" y="20277"/>
                    <a:pt x="27051" y="20277"/>
                  </a:cubicBezTo>
                  <a:lnTo>
                    <a:pt x="2000" y="20431"/>
                  </a:lnTo>
                  <a:cubicBezTo>
                    <a:pt x="1465" y="20431"/>
                    <a:pt x="1012" y="20039"/>
                    <a:pt x="988" y="19550"/>
                  </a:cubicBezTo>
                  <a:lnTo>
                    <a:pt x="917" y="18038"/>
                  </a:lnTo>
                  <a:lnTo>
                    <a:pt x="476" y="9347"/>
                  </a:lnTo>
                  <a:lnTo>
                    <a:pt x="131" y="2882"/>
                  </a:lnTo>
                  <a:lnTo>
                    <a:pt x="24" y="965"/>
                  </a:lnTo>
                  <a:cubicBezTo>
                    <a:pt x="0" y="441"/>
                    <a:pt x="453" y="0"/>
                    <a:pt x="1036" y="0"/>
                  </a:cubicBezTo>
                  <a:lnTo>
                    <a:pt x="27897" y="0"/>
                  </a:lnTo>
                  <a:cubicBezTo>
                    <a:pt x="28456" y="0"/>
                    <a:pt x="28920" y="441"/>
                    <a:pt x="28897" y="965"/>
                  </a:cubicBezTo>
                  <a:close/>
                </a:path>
              </a:pathLst>
            </a:custGeom>
            <a:solidFill>
              <a:srgbClr val="EAE5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 name="Google Shape;754;p38"/>
            <p:cNvSpPr/>
            <p:nvPr/>
          </p:nvSpPr>
          <p:spPr>
            <a:xfrm>
              <a:off x="2452075" y="1414600"/>
              <a:ext cx="411100" cy="20550"/>
            </a:xfrm>
            <a:custGeom>
              <a:avLst/>
              <a:gdLst/>
              <a:ahLst/>
              <a:cxnLst/>
              <a:rect l="l" t="t" r="r" b="b"/>
              <a:pathLst>
                <a:path w="16444" h="822" extrusionOk="0">
                  <a:moveTo>
                    <a:pt x="203" y="83"/>
                  </a:moveTo>
                  <a:lnTo>
                    <a:pt x="1" y="822"/>
                  </a:lnTo>
                  <a:lnTo>
                    <a:pt x="16098" y="691"/>
                  </a:lnTo>
                  <a:lnTo>
                    <a:pt x="16443" y="0"/>
                  </a:lnTo>
                  <a:close/>
                </a:path>
              </a:pathLst>
            </a:custGeom>
            <a:solidFill>
              <a:srgbClr val="CECED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 name="Google Shape;755;p38"/>
            <p:cNvSpPr/>
            <p:nvPr/>
          </p:nvSpPr>
          <p:spPr>
            <a:xfrm>
              <a:off x="2144900" y="1451800"/>
              <a:ext cx="723925" cy="236050"/>
            </a:xfrm>
            <a:custGeom>
              <a:avLst/>
              <a:gdLst/>
              <a:ahLst/>
              <a:cxnLst/>
              <a:rect l="l" t="t" r="r" b="b"/>
              <a:pathLst>
                <a:path w="28957" h="9442" extrusionOk="0">
                  <a:moveTo>
                    <a:pt x="28933" y="965"/>
                  </a:moveTo>
                  <a:lnTo>
                    <a:pt x="28849" y="2882"/>
                  </a:lnTo>
                  <a:lnTo>
                    <a:pt x="28849" y="2882"/>
                  </a:lnTo>
                  <a:lnTo>
                    <a:pt x="28575" y="8763"/>
                  </a:lnTo>
                  <a:lnTo>
                    <a:pt x="512" y="9442"/>
                  </a:lnTo>
                  <a:lnTo>
                    <a:pt x="477" y="9347"/>
                  </a:lnTo>
                  <a:lnTo>
                    <a:pt x="143" y="2882"/>
                  </a:lnTo>
                  <a:lnTo>
                    <a:pt x="36" y="965"/>
                  </a:lnTo>
                  <a:cubicBezTo>
                    <a:pt x="0" y="441"/>
                    <a:pt x="465" y="0"/>
                    <a:pt x="1048" y="0"/>
                  </a:cubicBezTo>
                  <a:lnTo>
                    <a:pt x="27909" y="0"/>
                  </a:lnTo>
                  <a:cubicBezTo>
                    <a:pt x="28492" y="0"/>
                    <a:pt x="28956" y="441"/>
                    <a:pt x="28933" y="965"/>
                  </a:cubicBezTo>
                  <a:close/>
                </a:path>
              </a:pathLst>
            </a:custGeom>
            <a:solidFill>
              <a:srgbClr val="DB450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756;p38"/>
            <p:cNvSpPr/>
            <p:nvPr/>
          </p:nvSpPr>
          <p:spPr>
            <a:xfrm>
              <a:off x="1490950" y="1970025"/>
              <a:ext cx="2018125" cy="23825"/>
            </a:xfrm>
            <a:custGeom>
              <a:avLst/>
              <a:gdLst/>
              <a:ahLst/>
              <a:cxnLst/>
              <a:rect l="l" t="t" r="r" b="b"/>
              <a:pathLst>
                <a:path w="80725" h="953" extrusionOk="0">
                  <a:moveTo>
                    <a:pt x="0" y="953"/>
                  </a:moveTo>
                  <a:lnTo>
                    <a:pt x="80713" y="953"/>
                  </a:lnTo>
                  <a:lnTo>
                    <a:pt x="80725" y="405"/>
                  </a:lnTo>
                  <a:lnTo>
                    <a:pt x="0" y="0"/>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 name="Google Shape;757;p38"/>
            <p:cNvSpPr/>
            <p:nvPr/>
          </p:nvSpPr>
          <p:spPr>
            <a:xfrm>
              <a:off x="1471600" y="1412500"/>
              <a:ext cx="2052950" cy="31275"/>
            </a:xfrm>
            <a:custGeom>
              <a:avLst/>
              <a:gdLst/>
              <a:ahLst/>
              <a:cxnLst/>
              <a:rect l="l" t="t" r="r" b="b"/>
              <a:pathLst>
                <a:path w="82118" h="1251" extrusionOk="0">
                  <a:moveTo>
                    <a:pt x="1" y="1251"/>
                  </a:moveTo>
                  <a:lnTo>
                    <a:pt x="81963" y="1037"/>
                  </a:lnTo>
                  <a:lnTo>
                    <a:pt x="82118" y="1"/>
                  </a:lnTo>
                  <a:lnTo>
                    <a:pt x="108" y="215"/>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8" name="Google Shape;758;p38"/>
          <p:cNvSpPr txBox="1">
            <a:spLocks noGrp="1"/>
          </p:cNvSpPr>
          <p:nvPr>
            <p:ph type="subTitle" idx="1"/>
          </p:nvPr>
        </p:nvSpPr>
        <p:spPr>
          <a:xfrm>
            <a:off x="1322903" y="1098139"/>
            <a:ext cx="3107903" cy="696421"/>
          </a:xfrm>
          <a:prstGeom prst="rect">
            <a:avLst/>
          </a:prstGeom>
        </p:spPr>
        <p:txBody>
          <a:bodyPr spcFirstLastPara="1" wrap="square" lIns="91425" tIns="91425" rIns="91425" bIns="91425" anchor="t" anchorCtr="0">
            <a:noAutofit/>
          </a:bodyPr>
          <a:lstStyle/>
          <a:p>
            <a:pPr marL="285750" lvl="0" indent="-285750" algn="l" rtl="0">
              <a:spcBef>
                <a:spcPts val="0"/>
              </a:spcBef>
              <a:spcAft>
                <a:spcPts val="0"/>
              </a:spcAft>
              <a:buFont typeface="Arial" panose="020B0604020202020204" pitchFamily="34" charset="0"/>
              <a:buChar char="•"/>
            </a:pPr>
            <a:r>
              <a:rPr lang="en-US" b="1" dirty="0">
                <a:solidFill>
                  <a:srgbClr val="EAE5C4"/>
                </a:solidFill>
                <a:latin typeface="Arial" panose="020B0604020202020204" pitchFamily="34" charset="0"/>
              </a:rPr>
              <a:t>Interlaced</a:t>
            </a:r>
            <a:r>
              <a:rPr lang="en-US" b="1" dirty="0">
                <a:solidFill>
                  <a:srgbClr val="EAE5C4"/>
                </a:solidFill>
                <a:latin typeface="Arial" panose="020B0604020202020204" pitchFamily="34" charset="0"/>
                <a:sym typeface="Wingdings" panose="05000000000000000000" pitchFamily="2" charset="2"/>
              </a:rPr>
              <a:t> e.g., </a:t>
            </a:r>
            <a:r>
              <a:rPr lang="en-US" b="1" dirty="0">
                <a:solidFill>
                  <a:srgbClr val="EAE5C4"/>
                </a:solidFill>
                <a:latin typeface="Arial" panose="020B0604020202020204" pitchFamily="34" charset="0"/>
              </a:rPr>
              <a:t>1080i</a:t>
            </a:r>
            <a:r>
              <a:rPr lang="en-US" b="1" i="0" dirty="0">
                <a:solidFill>
                  <a:srgbClr val="EAE5C4"/>
                </a:solidFill>
                <a:effectLst/>
                <a:latin typeface="Arial" panose="020B0604020202020204" pitchFamily="34" charset="0"/>
              </a:rPr>
              <a:t> </a:t>
            </a:r>
          </a:p>
          <a:p>
            <a:pPr marL="285750" lvl="0" indent="-285750" algn="l" rtl="0">
              <a:spcBef>
                <a:spcPts val="0"/>
              </a:spcBef>
              <a:spcAft>
                <a:spcPts val="0"/>
              </a:spcAft>
              <a:buFont typeface="Arial" panose="020B0604020202020204" pitchFamily="34" charset="0"/>
              <a:buChar char="•"/>
            </a:pPr>
            <a:r>
              <a:rPr lang="en-US" b="1" i="0" dirty="0">
                <a:solidFill>
                  <a:srgbClr val="EAE5C4"/>
                </a:solidFill>
                <a:effectLst/>
                <a:latin typeface="Arial" panose="020B0604020202020204" pitchFamily="34" charset="0"/>
              </a:rPr>
              <a:t>Non-Interlaced </a:t>
            </a:r>
            <a:r>
              <a:rPr lang="en-US" i="0" dirty="0">
                <a:solidFill>
                  <a:srgbClr val="EAE5C4"/>
                </a:solidFill>
                <a:effectLst/>
                <a:latin typeface="Arial" panose="020B0604020202020204" pitchFamily="34" charset="0"/>
              </a:rPr>
              <a:t>a</a:t>
            </a:r>
            <a:r>
              <a:rPr lang="en-US" dirty="0">
                <a:solidFill>
                  <a:srgbClr val="EAE5C4"/>
                </a:solidFill>
                <a:latin typeface="Arial" panose="020B0604020202020204" pitchFamily="34" charset="0"/>
              </a:rPr>
              <a:t>ka </a:t>
            </a:r>
            <a:r>
              <a:rPr lang="en-US" i="0" dirty="0">
                <a:solidFill>
                  <a:srgbClr val="EAE5C4"/>
                </a:solidFill>
                <a:effectLst/>
                <a:latin typeface="Arial" panose="020B0604020202020204" pitchFamily="34" charset="0"/>
              </a:rPr>
              <a:t>Progressive e.g., 720p</a:t>
            </a:r>
            <a:endParaRPr lang="en-US" dirty="0">
              <a:solidFill>
                <a:srgbClr val="EAE5C4"/>
              </a:solidFill>
              <a:latin typeface="Arial" panose="020B0604020202020204" pitchFamily="34" charset="0"/>
            </a:endParaRPr>
          </a:p>
        </p:txBody>
      </p:sp>
      <p:pic>
        <p:nvPicPr>
          <p:cNvPr id="163" name="Picture 162" descr="A picture containing outdoor&#10;&#10;Description automatically generated">
            <a:extLst>
              <a:ext uri="{FF2B5EF4-FFF2-40B4-BE49-F238E27FC236}">
                <a16:creationId xmlns:a16="http://schemas.microsoft.com/office/drawing/2014/main" id="{F8CEDE08-C850-4A72-AB25-DC25B39C82D9}"/>
              </a:ext>
            </a:extLst>
          </p:cNvPr>
          <p:cNvPicPr>
            <a:picLocks noChangeAspect="1"/>
          </p:cNvPicPr>
          <p:nvPr/>
        </p:nvPicPr>
        <p:blipFill>
          <a:blip r:embed="rId5"/>
          <a:stretch>
            <a:fillRect/>
          </a:stretch>
        </p:blipFill>
        <p:spPr>
          <a:xfrm>
            <a:off x="1326476" y="2011548"/>
            <a:ext cx="2814599" cy="1771489"/>
          </a:xfrm>
          <a:prstGeom prst="rect">
            <a:avLst/>
          </a:prstGeom>
        </p:spPr>
      </p:pic>
      <p:pic>
        <p:nvPicPr>
          <p:cNvPr id="4" name="Online Media 3" title="CD / Interlacing">
            <a:hlinkClick r:id="" action="ppaction://media"/>
            <a:extLst>
              <a:ext uri="{FF2B5EF4-FFF2-40B4-BE49-F238E27FC236}">
                <a16:creationId xmlns:a16="http://schemas.microsoft.com/office/drawing/2014/main" id="{C88D0D45-A20B-4717-9ACA-689901234227}"/>
              </a:ext>
            </a:extLst>
          </p:cNvPr>
          <p:cNvPicPr>
            <a:picLocks noRot="1" noChangeAspect="1"/>
          </p:cNvPicPr>
          <p:nvPr>
            <a:videoFile r:link="rId1"/>
            <p:custDataLst>
              <p:tags r:id="rId2"/>
            </p:custDataLst>
          </p:nvPr>
        </p:nvPicPr>
        <p:blipFill>
          <a:blip r:embed="rId6"/>
          <a:stretch>
            <a:fillRect/>
          </a:stretch>
        </p:blipFill>
        <p:spPr>
          <a:xfrm>
            <a:off x="5373722" y="1829100"/>
            <a:ext cx="2719717" cy="1536640"/>
          </a:xfrm>
          <a:prstGeom prst="rect">
            <a:avLst/>
          </a:prstGeom>
        </p:spPr>
      </p:pic>
    </p:spTree>
    <p:extLst>
      <p:ext uri="{BB962C8B-B14F-4D97-AF65-F5344CB8AC3E}">
        <p14:creationId xmlns:p14="http://schemas.microsoft.com/office/powerpoint/2010/main" val="3304911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627"/>
        <p:cNvGrpSpPr/>
        <p:nvPr/>
      </p:nvGrpSpPr>
      <p:grpSpPr>
        <a:xfrm>
          <a:off x="0" y="0"/>
          <a:ext cx="0" cy="0"/>
          <a:chOff x="0" y="0"/>
          <a:chExt cx="0" cy="0"/>
        </a:xfrm>
      </p:grpSpPr>
      <p:sp>
        <p:nvSpPr>
          <p:cNvPr id="732" name="Google Shape;732;p38"/>
          <p:cNvSpPr txBox="1">
            <a:spLocks noGrp="1"/>
          </p:cNvSpPr>
          <p:nvPr>
            <p:ph type="title"/>
          </p:nvPr>
        </p:nvSpPr>
        <p:spPr>
          <a:xfrm>
            <a:off x="1322903" y="512584"/>
            <a:ext cx="2962500" cy="563181"/>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RESOLUTION</a:t>
            </a:r>
            <a:endParaRPr dirty="0"/>
          </a:p>
        </p:txBody>
      </p:sp>
      <p:pic>
        <p:nvPicPr>
          <p:cNvPr id="6" name="Picture 5" descr="Chart&#10;&#10;Description automatically generated">
            <a:extLst>
              <a:ext uri="{FF2B5EF4-FFF2-40B4-BE49-F238E27FC236}">
                <a16:creationId xmlns:a16="http://schemas.microsoft.com/office/drawing/2014/main" id="{1A23FA7F-C471-4BE7-9803-182DADE99CFF}"/>
              </a:ext>
            </a:extLst>
          </p:cNvPr>
          <p:cNvPicPr>
            <a:picLocks noChangeAspect="1"/>
          </p:cNvPicPr>
          <p:nvPr/>
        </p:nvPicPr>
        <p:blipFill>
          <a:blip r:embed="rId5"/>
          <a:stretch>
            <a:fillRect/>
          </a:stretch>
        </p:blipFill>
        <p:spPr>
          <a:xfrm>
            <a:off x="1109823" y="1618689"/>
            <a:ext cx="3388659" cy="1906121"/>
          </a:xfrm>
          <a:prstGeom prst="rect">
            <a:avLst/>
          </a:prstGeom>
        </p:spPr>
      </p:pic>
      <p:pic>
        <p:nvPicPr>
          <p:cNvPr id="7" name="Online Media 6" title="CD / Resolution">
            <a:hlinkClick r:id="" action="ppaction://media"/>
            <a:extLst>
              <a:ext uri="{FF2B5EF4-FFF2-40B4-BE49-F238E27FC236}">
                <a16:creationId xmlns:a16="http://schemas.microsoft.com/office/drawing/2014/main" id="{6A7734BF-D729-46A2-93A7-372EF992CAD0}"/>
              </a:ext>
            </a:extLst>
          </p:cNvPr>
          <p:cNvPicPr>
            <a:picLocks noRot="1" noChangeAspect="1"/>
          </p:cNvPicPr>
          <p:nvPr>
            <a:videoFile r:link="rId1"/>
            <p:custDataLst>
              <p:tags r:id="rId2"/>
            </p:custDataLst>
          </p:nvPr>
        </p:nvPicPr>
        <p:blipFill>
          <a:blip r:embed="rId6"/>
          <a:stretch>
            <a:fillRect/>
          </a:stretch>
        </p:blipFill>
        <p:spPr>
          <a:xfrm>
            <a:off x="5089712" y="1618689"/>
            <a:ext cx="3373665" cy="1906121"/>
          </a:xfrm>
          <a:prstGeom prst="rect">
            <a:avLst/>
          </a:prstGeom>
        </p:spPr>
      </p:pic>
    </p:spTree>
    <p:extLst>
      <p:ext uri="{BB962C8B-B14F-4D97-AF65-F5344CB8AC3E}">
        <p14:creationId xmlns:p14="http://schemas.microsoft.com/office/powerpoint/2010/main" val="3235863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62"/>
        <p:cNvGrpSpPr/>
        <p:nvPr/>
      </p:nvGrpSpPr>
      <p:grpSpPr>
        <a:xfrm>
          <a:off x="0" y="0"/>
          <a:ext cx="0" cy="0"/>
          <a:chOff x="0" y="0"/>
          <a:chExt cx="0" cy="0"/>
        </a:xfrm>
      </p:grpSpPr>
      <p:sp>
        <p:nvSpPr>
          <p:cNvPr id="763" name="Google Shape;763;p39"/>
          <p:cNvSpPr txBox="1">
            <a:spLocks noGrp="1"/>
          </p:cNvSpPr>
          <p:nvPr>
            <p:ph type="title"/>
          </p:nvPr>
        </p:nvSpPr>
        <p:spPr>
          <a:xfrm>
            <a:off x="2161950" y="2150850"/>
            <a:ext cx="4820100" cy="841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premiere</a:t>
            </a:r>
            <a:endParaRPr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87"/>
        <p:cNvGrpSpPr/>
        <p:nvPr/>
      </p:nvGrpSpPr>
      <p:grpSpPr>
        <a:xfrm>
          <a:off x="0" y="0"/>
          <a:ext cx="0" cy="0"/>
          <a:chOff x="0" y="0"/>
          <a:chExt cx="0" cy="0"/>
        </a:xfrm>
      </p:grpSpPr>
      <p:sp>
        <p:nvSpPr>
          <p:cNvPr id="788" name="Google Shape;788;p40"/>
          <p:cNvSpPr txBox="1">
            <a:spLocks noGrp="1"/>
          </p:cNvSpPr>
          <p:nvPr>
            <p:ph type="subTitle" idx="1"/>
          </p:nvPr>
        </p:nvSpPr>
        <p:spPr>
          <a:xfrm>
            <a:off x="713400" y="444900"/>
            <a:ext cx="4551124" cy="7314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dirty="0"/>
              <a:t>preferences</a:t>
            </a:r>
            <a:endParaRPr dirty="0"/>
          </a:p>
        </p:txBody>
      </p:sp>
      <p:sp>
        <p:nvSpPr>
          <p:cNvPr id="789" name="Google Shape;789;p40"/>
          <p:cNvSpPr txBox="1">
            <a:spLocks noGrp="1"/>
          </p:cNvSpPr>
          <p:nvPr>
            <p:ph type="subTitle" idx="4"/>
          </p:nvPr>
        </p:nvSpPr>
        <p:spPr>
          <a:xfrm>
            <a:off x="713400" y="1209025"/>
            <a:ext cx="2883688" cy="612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SET THAT PROGRAM </a:t>
            </a:r>
            <a:endParaRPr dirty="0"/>
          </a:p>
        </p:txBody>
      </p:sp>
      <p:grpSp>
        <p:nvGrpSpPr>
          <p:cNvPr id="792" name="Google Shape;792;p40"/>
          <p:cNvGrpSpPr/>
          <p:nvPr/>
        </p:nvGrpSpPr>
        <p:grpSpPr>
          <a:xfrm>
            <a:off x="713400" y="2084627"/>
            <a:ext cx="1935975" cy="1031100"/>
            <a:chOff x="4600575" y="533400"/>
            <a:chExt cx="1935975" cy="1031100"/>
          </a:xfrm>
        </p:grpSpPr>
        <p:sp>
          <p:nvSpPr>
            <p:cNvPr id="793" name="Google Shape;793;p40"/>
            <p:cNvSpPr/>
            <p:nvPr/>
          </p:nvSpPr>
          <p:spPr>
            <a:xfrm>
              <a:off x="4600575" y="533400"/>
              <a:ext cx="1031100" cy="1031100"/>
            </a:xfrm>
            <a:prstGeom prst="ellipse">
              <a:avLst/>
            </a:prstGeom>
            <a:noFill/>
            <a:ln w="28575"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 name="Google Shape;794;p40"/>
            <p:cNvSpPr/>
            <p:nvPr/>
          </p:nvSpPr>
          <p:spPr>
            <a:xfrm>
              <a:off x="4826794" y="533400"/>
              <a:ext cx="1031100" cy="1031100"/>
            </a:xfrm>
            <a:prstGeom prst="ellipse">
              <a:avLst/>
            </a:prstGeom>
            <a:noFill/>
            <a:ln w="2857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 name="Google Shape;795;p40"/>
            <p:cNvSpPr/>
            <p:nvPr/>
          </p:nvSpPr>
          <p:spPr>
            <a:xfrm>
              <a:off x="5053013" y="533400"/>
              <a:ext cx="1031100" cy="1031100"/>
            </a:xfrm>
            <a:prstGeom prst="ellipse">
              <a:avLst/>
            </a:prstGeom>
            <a:noFill/>
            <a:ln w="2857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 name="Google Shape;796;p40"/>
            <p:cNvSpPr/>
            <p:nvPr/>
          </p:nvSpPr>
          <p:spPr>
            <a:xfrm>
              <a:off x="5279231" y="533400"/>
              <a:ext cx="1031100" cy="1031100"/>
            </a:xfrm>
            <a:prstGeom prst="ellipse">
              <a:avLst/>
            </a:prstGeom>
            <a:noFill/>
            <a:ln w="2857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 name="Google Shape;797;p40"/>
            <p:cNvSpPr/>
            <p:nvPr/>
          </p:nvSpPr>
          <p:spPr>
            <a:xfrm>
              <a:off x="5505450" y="533400"/>
              <a:ext cx="1031100" cy="1031100"/>
            </a:xfrm>
            <a:prstGeom prst="ellipse">
              <a:avLst/>
            </a:prstGeom>
            <a:noFill/>
            <a:ln w="2857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6" name="Online Media 5" title="Optimizing Adobe Premiere For Best Performance!">
            <a:hlinkClick r:id="" action="ppaction://media"/>
            <a:extLst>
              <a:ext uri="{FF2B5EF4-FFF2-40B4-BE49-F238E27FC236}">
                <a16:creationId xmlns:a16="http://schemas.microsoft.com/office/drawing/2014/main" id="{F71F6EEE-1BA6-4FB7-AD70-2015E72AA042}"/>
              </a:ext>
            </a:extLst>
          </p:cNvPr>
          <p:cNvPicPr>
            <a:picLocks noRot="1" noChangeAspect="1"/>
          </p:cNvPicPr>
          <p:nvPr>
            <a:videoFile r:link="rId1"/>
            <p:custDataLst>
              <p:tags r:id="rId2"/>
            </p:custDataLst>
          </p:nvPr>
        </p:nvPicPr>
        <p:blipFill>
          <a:blip r:embed="rId5"/>
          <a:stretch>
            <a:fillRect/>
          </a:stretch>
        </p:blipFill>
        <p:spPr>
          <a:xfrm>
            <a:off x="3833160" y="2206385"/>
            <a:ext cx="3984628" cy="2251315"/>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838"/>
        <p:cNvGrpSpPr/>
        <p:nvPr/>
      </p:nvGrpSpPr>
      <p:grpSpPr>
        <a:xfrm>
          <a:off x="0" y="0"/>
          <a:ext cx="0" cy="0"/>
          <a:chOff x="0" y="0"/>
          <a:chExt cx="0" cy="0"/>
        </a:xfrm>
      </p:grpSpPr>
      <p:sp>
        <p:nvSpPr>
          <p:cNvPr id="839" name="Google Shape;839;p43"/>
          <p:cNvSpPr txBox="1">
            <a:spLocks noGrp="1"/>
          </p:cNvSpPr>
          <p:nvPr>
            <p:ph type="title"/>
          </p:nvPr>
        </p:nvSpPr>
        <p:spPr>
          <a:xfrm>
            <a:off x="1031390" y="1852650"/>
            <a:ext cx="2320800" cy="14382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ORGANIZE</a:t>
            </a:r>
            <a:br>
              <a:rPr lang="en" dirty="0"/>
            </a:br>
            <a:r>
              <a:rPr lang="en" dirty="0"/>
              <a:t>ORGANIZE</a:t>
            </a:r>
            <a:br>
              <a:rPr lang="en" dirty="0"/>
            </a:br>
            <a:r>
              <a:rPr lang="en" dirty="0"/>
              <a:t>ORGANIZE</a:t>
            </a:r>
            <a:endParaRPr dirty="0"/>
          </a:p>
        </p:txBody>
      </p:sp>
      <p:sp>
        <p:nvSpPr>
          <p:cNvPr id="840" name="Google Shape;840;p43"/>
          <p:cNvSpPr txBox="1">
            <a:spLocks noGrp="1"/>
          </p:cNvSpPr>
          <p:nvPr>
            <p:ph type="ctrTitle" idx="3"/>
          </p:nvPr>
        </p:nvSpPr>
        <p:spPr>
          <a:xfrm>
            <a:off x="5686200" y="2906869"/>
            <a:ext cx="2744400" cy="4389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POST-PRODUCTION</a:t>
            </a:r>
            <a:endParaRPr dirty="0"/>
          </a:p>
        </p:txBody>
      </p:sp>
      <p:sp>
        <p:nvSpPr>
          <p:cNvPr id="841" name="Google Shape;841;p43"/>
          <p:cNvSpPr txBox="1">
            <a:spLocks noGrp="1"/>
          </p:cNvSpPr>
          <p:nvPr>
            <p:ph type="ctrTitle" idx="2"/>
          </p:nvPr>
        </p:nvSpPr>
        <p:spPr>
          <a:xfrm>
            <a:off x="5686200" y="943600"/>
            <a:ext cx="2744400" cy="4389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PRODUCTION</a:t>
            </a:r>
            <a:endParaRPr dirty="0"/>
          </a:p>
        </p:txBody>
      </p:sp>
      <p:grpSp>
        <p:nvGrpSpPr>
          <p:cNvPr id="842" name="Google Shape;842;p43"/>
          <p:cNvGrpSpPr/>
          <p:nvPr/>
        </p:nvGrpSpPr>
        <p:grpSpPr>
          <a:xfrm flipH="1">
            <a:off x="1362421" y="3525900"/>
            <a:ext cx="1659324" cy="883756"/>
            <a:chOff x="4600575" y="533400"/>
            <a:chExt cx="1935975" cy="1031100"/>
          </a:xfrm>
        </p:grpSpPr>
        <p:sp>
          <p:nvSpPr>
            <p:cNvPr id="843" name="Google Shape;843;p43"/>
            <p:cNvSpPr/>
            <p:nvPr/>
          </p:nvSpPr>
          <p:spPr>
            <a:xfrm>
              <a:off x="4600575" y="533400"/>
              <a:ext cx="1031100" cy="1031100"/>
            </a:xfrm>
            <a:prstGeom prst="ellipse">
              <a:avLst/>
            </a:prstGeom>
            <a:noFill/>
            <a:ln w="28575"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 name="Google Shape;844;p43"/>
            <p:cNvSpPr/>
            <p:nvPr/>
          </p:nvSpPr>
          <p:spPr>
            <a:xfrm>
              <a:off x="4826794" y="533400"/>
              <a:ext cx="1031100" cy="1031100"/>
            </a:xfrm>
            <a:prstGeom prst="ellipse">
              <a:avLst/>
            </a:prstGeom>
            <a:noFill/>
            <a:ln w="2857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 name="Google Shape;845;p43"/>
            <p:cNvSpPr/>
            <p:nvPr/>
          </p:nvSpPr>
          <p:spPr>
            <a:xfrm>
              <a:off x="5053013" y="533400"/>
              <a:ext cx="1031100" cy="1031100"/>
            </a:xfrm>
            <a:prstGeom prst="ellipse">
              <a:avLst/>
            </a:prstGeom>
            <a:noFill/>
            <a:ln w="2857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 name="Google Shape;846;p43"/>
            <p:cNvSpPr/>
            <p:nvPr/>
          </p:nvSpPr>
          <p:spPr>
            <a:xfrm>
              <a:off x="5279231" y="533400"/>
              <a:ext cx="1031100" cy="1031100"/>
            </a:xfrm>
            <a:prstGeom prst="ellipse">
              <a:avLst/>
            </a:prstGeom>
            <a:noFill/>
            <a:ln w="2857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 name="Google Shape;847;p43"/>
            <p:cNvSpPr/>
            <p:nvPr/>
          </p:nvSpPr>
          <p:spPr>
            <a:xfrm>
              <a:off x="5505450" y="533400"/>
              <a:ext cx="1031100" cy="1031100"/>
            </a:xfrm>
            <a:prstGeom prst="ellipse">
              <a:avLst/>
            </a:prstGeom>
            <a:noFill/>
            <a:ln w="2857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8" name="Google Shape;848;p43"/>
          <p:cNvGrpSpPr/>
          <p:nvPr/>
        </p:nvGrpSpPr>
        <p:grpSpPr>
          <a:xfrm>
            <a:off x="1361985" y="733751"/>
            <a:ext cx="1659324" cy="883756"/>
            <a:chOff x="4600575" y="533400"/>
            <a:chExt cx="1935975" cy="1031100"/>
          </a:xfrm>
        </p:grpSpPr>
        <p:sp>
          <p:nvSpPr>
            <p:cNvPr id="849" name="Google Shape;849;p43"/>
            <p:cNvSpPr/>
            <p:nvPr/>
          </p:nvSpPr>
          <p:spPr>
            <a:xfrm>
              <a:off x="4600575" y="533400"/>
              <a:ext cx="1031100" cy="1031100"/>
            </a:xfrm>
            <a:prstGeom prst="ellipse">
              <a:avLst/>
            </a:prstGeom>
            <a:noFill/>
            <a:ln w="28575"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 name="Google Shape;850;p43"/>
            <p:cNvSpPr/>
            <p:nvPr/>
          </p:nvSpPr>
          <p:spPr>
            <a:xfrm>
              <a:off x="4826794" y="533400"/>
              <a:ext cx="1031100" cy="1031100"/>
            </a:xfrm>
            <a:prstGeom prst="ellipse">
              <a:avLst/>
            </a:prstGeom>
            <a:noFill/>
            <a:ln w="2857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 name="Google Shape;851;p43"/>
            <p:cNvSpPr/>
            <p:nvPr/>
          </p:nvSpPr>
          <p:spPr>
            <a:xfrm>
              <a:off x="5053013" y="533400"/>
              <a:ext cx="1031100" cy="1031100"/>
            </a:xfrm>
            <a:prstGeom prst="ellipse">
              <a:avLst/>
            </a:prstGeom>
            <a:noFill/>
            <a:ln w="2857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 name="Google Shape;852;p43"/>
            <p:cNvSpPr/>
            <p:nvPr/>
          </p:nvSpPr>
          <p:spPr>
            <a:xfrm>
              <a:off x="5279231" y="533400"/>
              <a:ext cx="1031100" cy="1031100"/>
            </a:xfrm>
            <a:prstGeom prst="ellipse">
              <a:avLst/>
            </a:prstGeom>
            <a:noFill/>
            <a:ln w="2857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 name="Google Shape;853;p43"/>
            <p:cNvSpPr/>
            <p:nvPr/>
          </p:nvSpPr>
          <p:spPr>
            <a:xfrm>
              <a:off x="5505450" y="533400"/>
              <a:ext cx="1031100" cy="1031100"/>
            </a:xfrm>
            <a:prstGeom prst="ellipse">
              <a:avLst/>
            </a:prstGeom>
            <a:noFill/>
            <a:ln w="2857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4" name="Google Shape;854;p43"/>
          <p:cNvGrpSpPr/>
          <p:nvPr/>
        </p:nvGrpSpPr>
        <p:grpSpPr>
          <a:xfrm>
            <a:off x="4716650" y="1181650"/>
            <a:ext cx="599700" cy="797700"/>
            <a:chOff x="4716650" y="1181650"/>
            <a:chExt cx="599700" cy="797700"/>
          </a:xfrm>
        </p:grpSpPr>
        <p:sp>
          <p:nvSpPr>
            <p:cNvPr id="855" name="Google Shape;855;p43"/>
            <p:cNvSpPr/>
            <p:nvPr/>
          </p:nvSpPr>
          <p:spPr>
            <a:xfrm>
              <a:off x="4716650" y="1379650"/>
              <a:ext cx="599700" cy="5997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 name="Google Shape;856;p43"/>
            <p:cNvSpPr/>
            <p:nvPr/>
          </p:nvSpPr>
          <p:spPr>
            <a:xfrm>
              <a:off x="4716650" y="1181650"/>
              <a:ext cx="599700" cy="5997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7" name="Google Shape;857;p43"/>
          <p:cNvGrpSpPr/>
          <p:nvPr/>
        </p:nvGrpSpPr>
        <p:grpSpPr>
          <a:xfrm>
            <a:off x="4716650" y="3143075"/>
            <a:ext cx="599700" cy="797700"/>
            <a:chOff x="4769550" y="1121825"/>
            <a:chExt cx="599700" cy="797700"/>
          </a:xfrm>
        </p:grpSpPr>
        <p:sp>
          <p:nvSpPr>
            <p:cNvPr id="858" name="Google Shape;858;p43"/>
            <p:cNvSpPr/>
            <p:nvPr/>
          </p:nvSpPr>
          <p:spPr>
            <a:xfrm>
              <a:off x="4769550" y="1319825"/>
              <a:ext cx="599700" cy="599700"/>
            </a:xfrm>
            <a:prstGeom prst="ellipse">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 name="Google Shape;859;p43"/>
            <p:cNvSpPr/>
            <p:nvPr/>
          </p:nvSpPr>
          <p:spPr>
            <a:xfrm>
              <a:off x="4769550" y="1121825"/>
              <a:ext cx="599700" cy="5997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8" name="Google Shape;878;p43"/>
          <p:cNvSpPr txBox="1">
            <a:spLocks noGrp="1"/>
          </p:cNvSpPr>
          <p:nvPr>
            <p:ph type="subTitle" idx="1"/>
          </p:nvPr>
        </p:nvSpPr>
        <p:spPr>
          <a:xfrm>
            <a:off x="5686200" y="1379374"/>
            <a:ext cx="3941894" cy="1192375"/>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dirty="0"/>
              <a:t>SHOOTS – label </a:t>
            </a:r>
            <a:r>
              <a:rPr lang="en" dirty="0">
                <a:solidFill>
                  <a:srgbClr val="FF0000"/>
                </a:solidFill>
              </a:rPr>
              <a:t>EVERYTHING</a:t>
            </a:r>
          </a:p>
          <a:p>
            <a:pPr marL="285750" lvl="0" indent="-285750" algn="l" rtl="0">
              <a:spcBef>
                <a:spcPts val="0"/>
              </a:spcBef>
              <a:spcAft>
                <a:spcPts val="0"/>
              </a:spcAft>
              <a:buFont typeface="Arial" panose="020B0604020202020204" pitchFamily="34" charset="0"/>
              <a:buChar char="•"/>
            </a:pPr>
            <a:r>
              <a:rPr lang="en-US" dirty="0"/>
              <a:t>T</a:t>
            </a:r>
            <a:r>
              <a:rPr lang="en" dirty="0"/>
              <a:t>hematically (e.g., interviews)</a:t>
            </a:r>
          </a:p>
          <a:p>
            <a:pPr marL="285750" lvl="0" indent="-285750" algn="l" rtl="0">
              <a:spcBef>
                <a:spcPts val="0"/>
              </a:spcBef>
              <a:spcAft>
                <a:spcPts val="0"/>
              </a:spcAft>
              <a:buFont typeface="Arial" panose="020B0604020202020204" pitchFamily="34" charset="0"/>
              <a:buChar char="•"/>
            </a:pPr>
            <a:r>
              <a:rPr lang="en-US" dirty="0"/>
              <a:t>C</a:t>
            </a:r>
            <a:r>
              <a:rPr lang="en" dirty="0"/>
              <a:t>hronologically</a:t>
            </a:r>
          </a:p>
          <a:p>
            <a:pPr marL="285750" indent="-285750">
              <a:buFont typeface="Arial" panose="020B0604020202020204" pitchFamily="34" charset="0"/>
              <a:buChar char="•"/>
            </a:pPr>
            <a:r>
              <a:rPr lang="en" dirty="0"/>
              <a:t>Takes? …hmm depends </a:t>
            </a:r>
          </a:p>
          <a:p>
            <a:pPr marL="285750" indent="-285750">
              <a:buFont typeface="Arial" panose="020B0604020202020204" pitchFamily="34" charset="0"/>
              <a:buChar char="•"/>
            </a:pPr>
            <a:r>
              <a:rPr lang="en" dirty="0"/>
              <a:t>Frequent cuts for generic shoots</a:t>
            </a:r>
          </a:p>
        </p:txBody>
      </p:sp>
      <p:sp>
        <p:nvSpPr>
          <p:cNvPr id="879" name="Google Shape;879;p43"/>
          <p:cNvSpPr txBox="1">
            <a:spLocks noGrp="1"/>
          </p:cNvSpPr>
          <p:nvPr>
            <p:ph type="subTitle" idx="4"/>
          </p:nvPr>
        </p:nvSpPr>
        <p:spPr>
          <a:xfrm>
            <a:off x="5686198" y="3283100"/>
            <a:ext cx="3746913" cy="1544016"/>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dirty="0"/>
              <a:t>BINS + MEDIA – label </a:t>
            </a:r>
            <a:r>
              <a:rPr lang="en" dirty="0">
                <a:solidFill>
                  <a:srgbClr val="FF0000"/>
                </a:solidFill>
              </a:rPr>
              <a:t>EVERYTHING</a:t>
            </a:r>
          </a:p>
          <a:p>
            <a:pPr marL="285750" lvl="0" indent="-285750" algn="l" rtl="0">
              <a:spcBef>
                <a:spcPts val="0"/>
              </a:spcBef>
              <a:spcAft>
                <a:spcPts val="0"/>
              </a:spcAft>
              <a:buFont typeface="Arial" panose="020B0604020202020204" pitchFamily="34" charset="0"/>
              <a:buChar char="•"/>
            </a:pPr>
            <a:r>
              <a:rPr lang="en-US" dirty="0"/>
              <a:t>T</a:t>
            </a:r>
            <a:r>
              <a:rPr lang="en" dirty="0"/>
              <a:t>hematically</a:t>
            </a:r>
          </a:p>
          <a:p>
            <a:pPr marL="285750" lvl="0" indent="-285750" algn="l" rtl="0">
              <a:spcBef>
                <a:spcPts val="0"/>
              </a:spcBef>
              <a:spcAft>
                <a:spcPts val="0"/>
              </a:spcAft>
              <a:buFont typeface="Arial" panose="020B0604020202020204" pitchFamily="34" charset="0"/>
              <a:buChar char="•"/>
            </a:pPr>
            <a:r>
              <a:rPr lang="en-US" dirty="0"/>
              <a:t>C</a:t>
            </a:r>
            <a:r>
              <a:rPr lang="en" dirty="0"/>
              <a:t>hronologically</a:t>
            </a:r>
          </a:p>
          <a:p>
            <a:pPr marL="285750" lvl="0" indent="-285750" algn="l" rtl="0">
              <a:spcBef>
                <a:spcPts val="0"/>
              </a:spcBef>
              <a:spcAft>
                <a:spcPts val="0"/>
              </a:spcAft>
              <a:buFont typeface="Arial" panose="020B0604020202020204" pitchFamily="34" charset="0"/>
              <a:buChar char="•"/>
            </a:pPr>
            <a:r>
              <a:rPr lang="en" dirty="0"/>
              <a:t>According to type (e.g., sound)</a:t>
            </a:r>
          </a:p>
        </p:txBody>
      </p:sp>
      <p:grpSp>
        <p:nvGrpSpPr>
          <p:cNvPr id="43" name="Google Shape;7377;p79">
            <a:extLst>
              <a:ext uri="{FF2B5EF4-FFF2-40B4-BE49-F238E27FC236}">
                <a16:creationId xmlns:a16="http://schemas.microsoft.com/office/drawing/2014/main" id="{2CAC9DD1-DE4B-45CD-B797-7BA0A18F7542}"/>
              </a:ext>
            </a:extLst>
          </p:cNvPr>
          <p:cNvGrpSpPr/>
          <p:nvPr/>
        </p:nvGrpSpPr>
        <p:grpSpPr>
          <a:xfrm rot="19240133">
            <a:off x="7636681" y="636920"/>
            <a:ext cx="410945" cy="613359"/>
            <a:chOff x="4939970" y="1499855"/>
            <a:chExt cx="242979" cy="362660"/>
          </a:xfrm>
        </p:grpSpPr>
        <p:sp>
          <p:nvSpPr>
            <p:cNvPr id="44" name="Google Shape;7378;p79">
              <a:extLst>
                <a:ext uri="{FF2B5EF4-FFF2-40B4-BE49-F238E27FC236}">
                  <a16:creationId xmlns:a16="http://schemas.microsoft.com/office/drawing/2014/main" id="{8E935843-ECB7-4251-B245-90EFFB535FA2}"/>
                </a:ext>
              </a:extLst>
            </p:cNvPr>
            <p:cNvSpPr/>
            <p:nvPr/>
          </p:nvSpPr>
          <p:spPr>
            <a:xfrm>
              <a:off x="4992973" y="1499855"/>
              <a:ext cx="43728" cy="120075"/>
            </a:xfrm>
            <a:custGeom>
              <a:avLst/>
              <a:gdLst/>
              <a:ahLst/>
              <a:cxnLst/>
              <a:rect l="l" t="t" r="r" b="b"/>
              <a:pathLst>
                <a:path w="1669" h="4583" extrusionOk="0">
                  <a:moveTo>
                    <a:pt x="834" y="0"/>
                  </a:moveTo>
                  <a:cubicBezTo>
                    <a:pt x="374" y="0"/>
                    <a:pt x="0" y="384"/>
                    <a:pt x="20" y="844"/>
                  </a:cubicBezTo>
                  <a:lnTo>
                    <a:pt x="20" y="4582"/>
                  </a:lnTo>
                  <a:cubicBezTo>
                    <a:pt x="269" y="4179"/>
                    <a:pt x="710" y="3940"/>
                    <a:pt x="1189" y="3940"/>
                  </a:cubicBezTo>
                  <a:cubicBezTo>
                    <a:pt x="1342" y="3940"/>
                    <a:pt x="1496" y="3959"/>
                    <a:pt x="1649" y="4017"/>
                  </a:cubicBezTo>
                  <a:lnTo>
                    <a:pt x="1649" y="844"/>
                  </a:lnTo>
                  <a:cubicBezTo>
                    <a:pt x="1668" y="384"/>
                    <a:pt x="1295" y="0"/>
                    <a:pt x="834" y="0"/>
                  </a:cubicBezTo>
                  <a:close/>
                </a:path>
              </a:pathLst>
            </a:custGeom>
            <a:solidFill>
              <a:srgbClr val="D8D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7379;p79">
              <a:extLst>
                <a:ext uri="{FF2B5EF4-FFF2-40B4-BE49-F238E27FC236}">
                  <a16:creationId xmlns:a16="http://schemas.microsoft.com/office/drawing/2014/main" id="{F5340B98-F286-4A88-B460-3EC7A39CA415}"/>
                </a:ext>
              </a:extLst>
            </p:cNvPr>
            <p:cNvSpPr/>
            <p:nvPr/>
          </p:nvSpPr>
          <p:spPr>
            <a:xfrm>
              <a:off x="4993470" y="1584979"/>
              <a:ext cx="42732" cy="34951"/>
            </a:xfrm>
            <a:custGeom>
              <a:avLst/>
              <a:gdLst/>
              <a:ahLst/>
              <a:cxnLst/>
              <a:rect l="l" t="t" r="r" b="b"/>
              <a:pathLst>
                <a:path w="1631" h="1334" extrusionOk="0">
                  <a:moveTo>
                    <a:pt x="1170" y="1"/>
                  </a:moveTo>
                  <a:cubicBezTo>
                    <a:pt x="691" y="1"/>
                    <a:pt x="250" y="250"/>
                    <a:pt x="1" y="652"/>
                  </a:cubicBezTo>
                  <a:lnTo>
                    <a:pt x="1" y="1333"/>
                  </a:lnTo>
                  <a:cubicBezTo>
                    <a:pt x="250" y="930"/>
                    <a:pt x="691" y="691"/>
                    <a:pt x="1170" y="691"/>
                  </a:cubicBezTo>
                  <a:cubicBezTo>
                    <a:pt x="1323" y="691"/>
                    <a:pt x="1477" y="710"/>
                    <a:pt x="1630" y="768"/>
                  </a:cubicBezTo>
                  <a:lnTo>
                    <a:pt x="1630" y="77"/>
                  </a:lnTo>
                  <a:cubicBezTo>
                    <a:pt x="1477" y="29"/>
                    <a:pt x="1323" y="1"/>
                    <a:pt x="1170" y="1"/>
                  </a:cubicBezTo>
                  <a:close/>
                </a:path>
              </a:pathLst>
            </a:custGeom>
            <a:solidFill>
              <a:srgbClr val="C6CE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7380;p79">
              <a:extLst>
                <a:ext uri="{FF2B5EF4-FFF2-40B4-BE49-F238E27FC236}">
                  <a16:creationId xmlns:a16="http://schemas.microsoft.com/office/drawing/2014/main" id="{8EA83806-7F9F-4E0E-B7B5-531F662C011B}"/>
                </a:ext>
              </a:extLst>
            </p:cNvPr>
            <p:cNvSpPr/>
            <p:nvPr/>
          </p:nvSpPr>
          <p:spPr>
            <a:xfrm>
              <a:off x="4939970" y="1536588"/>
              <a:ext cx="203207" cy="325928"/>
            </a:xfrm>
            <a:custGeom>
              <a:avLst/>
              <a:gdLst/>
              <a:ahLst/>
              <a:cxnLst/>
              <a:rect l="l" t="t" r="r" b="b"/>
              <a:pathLst>
                <a:path w="7756" h="12440" extrusionOk="0">
                  <a:moveTo>
                    <a:pt x="1482" y="8965"/>
                  </a:moveTo>
                  <a:cubicBezTo>
                    <a:pt x="1805" y="8965"/>
                    <a:pt x="2129" y="9180"/>
                    <a:pt x="2129" y="9612"/>
                  </a:cubicBezTo>
                  <a:lnTo>
                    <a:pt x="2129" y="10810"/>
                  </a:lnTo>
                  <a:cubicBezTo>
                    <a:pt x="2129" y="11165"/>
                    <a:pt x="1841" y="11452"/>
                    <a:pt x="1477" y="11452"/>
                  </a:cubicBezTo>
                  <a:cubicBezTo>
                    <a:pt x="1122" y="11452"/>
                    <a:pt x="835" y="11165"/>
                    <a:pt x="835" y="10810"/>
                  </a:cubicBezTo>
                  <a:lnTo>
                    <a:pt x="835" y="9612"/>
                  </a:lnTo>
                  <a:cubicBezTo>
                    <a:pt x="835" y="9180"/>
                    <a:pt x="1158" y="8965"/>
                    <a:pt x="1482" y="8965"/>
                  </a:cubicBezTo>
                  <a:close/>
                  <a:moveTo>
                    <a:pt x="6858" y="0"/>
                  </a:moveTo>
                  <a:cubicBezTo>
                    <a:pt x="6651" y="0"/>
                    <a:pt x="6442" y="79"/>
                    <a:pt x="6279" y="237"/>
                  </a:cubicBezTo>
                  <a:lnTo>
                    <a:pt x="3835" y="2691"/>
                  </a:lnTo>
                  <a:cubicBezTo>
                    <a:pt x="3619" y="2581"/>
                    <a:pt x="3403" y="2532"/>
                    <a:pt x="3197" y="2532"/>
                  </a:cubicBezTo>
                  <a:cubicBezTo>
                    <a:pt x="2145" y="2532"/>
                    <a:pt x="1359" y="3811"/>
                    <a:pt x="2129" y="4781"/>
                  </a:cubicBezTo>
                  <a:lnTo>
                    <a:pt x="2129" y="8126"/>
                  </a:lnTo>
                  <a:cubicBezTo>
                    <a:pt x="1928" y="8021"/>
                    <a:pt x="1707" y="7973"/>
                    <a:pt x="1487" y="7973"/>
                  </a:cubicBezTo>
                  <a:cubicBezTo>
                    <a:pt x="662" y="7973"/>
                    <a:pt x="1" y="8644"/>
                    <a:pt x="1" y="9458"/>
                  </a:cubicBezTo>
                  <a:lnTo>
                    <a:pt x="1" y="10963"/>
                  </a:lnTo>
                  <a:cubicBezTo>
                    <a:pt x="1" y="11778"/>
                    <a:pt x="662" y="12439"/>
                    <a:pt x="1487" y="12439"/>
                  </a:cubicBezTo>
                  <a:cubicBezTo>
                    <a:pt x="2301" y="12439"/>
                    <a:pt x="2963" y="11778"/>
                    <a:pt x="2963" y="10963"/>
                  </a:cubicBezTo>
                  <a:lnTo>
                    <a:pt x="2963" y="5279"/>
                  </a:lnTo>
                  <a:cubicBezTo>
                    <a:pt x="3049" y="5298"/>
                    <a:pt x="3126" y="5308"/>
                    <a:pt x="3202" y="5308"/>
                  </a:cubicBezTo>
                  <a:cubicBezTo>
                    <a:pt x="3835" y="5308"/>
                    <a:pt x="4381" y="4877"/>
                    <a:pt x="4544" y="4273"/>
                  </a:cubicBezTo>
                  <a:lnTo>
                    <a:pt x="7439" y="1388"/>
                  </a:lnTo>
                  <a:cubicBezTo>
                    <a:pt x="7756" y="1071"/>
                    <a:pt x="7756" y="554"/>
                    <a:pt x="7430" y="237"/>
                  </a:cubicBezTo>
                  <a:cubicBezTo>
                    <a:pt x="7271" y="79"/>
                    <a:pt x="7065" y="0"/>
                    <a:pt x="6858" y="0"/>
                  </a:cubicBezTo>
                  <a:close/>
                </a:path>
              </a:pathLst>
            </a:custGeom>
            <a:solidFill>
              <a:srgbClr val="D8D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7381;p79">
              <a:extLst>
                <a:ext uri="{FF2B5EF4-FFF2-40B4-BE49-F238E27FC236}">
                  <a16:creationId xmlns:a16="http://schemas.microsoft.com/office/drawing/2014/main" id="{75CB2EA0-2C4A-450E-8A1D-9A4FAFB932D7}"/>
                </a:ext>
              </a:extLst>
            </p:cNvPr>
            <p:cNvSpPr/>
            <p:nvPr/>
          </p:nvSpPr>
          <p:spPr>
            <a:xfrm>
              <a:off x="5033163" y="1662321"/>
              <a:ext cx="149785" cy="191155"/>
            </a:xfrm>
            <a:custGeom>
              <a:avLst/>
              <a:gdLst/>
              <a:ahLst/>
              <a:cxnLst/>
              <a:rect l="l" t="t" r="r" b="b"/>
              <a:pathLst>
                <a:path w="5717" h="7296" extrusionOk="0">
                  <a:moveTo>
                    <a:pt x="3823" y="4866"/>
                  </a:moveTo>
                  <a:cubicBezTo>
                    <a:pt x="4215" y="4866"/>
                    <a:pt x="4592" y="5168"/>
                    <a:pt x="4592" y="5628"/>
                  </a:cubicBezTo>
                  <a:cubicBezTo>
                    <a:pt x="4592" y="6049"/>
                    <a:pt x="4256" y="6394"/>
                    <a:pt x="3834" y="6394"/>
                  </a:cubicBezTo>
                  <a:lnTo>
                    <a:pt x="3825" y="6394"/>
                  </a:lnTo>
                  <a:cubicBezTo>
                    <a:pt x="3144" y="6394"/>
                    <a:pt x="2809" y="5570"/>
                    <a:pt x="3288" y="5091"/>
                  </a:cubicBezTo>
                  <a:cubicBezTo>
                    <a:pt x="3443" y="4935"/>
                    <a:pt x="3635" y="4866"/>
                    <a:pt x="3823" y="4866"/>
                  </a:cubicBezTo>
                  <a:close/>
                  <a:moveTo>
                    <a:pt x="719" y="1"/>
                  </a:moveTo>
                  <a:cubicBezTo>
                    <a:pt x="527" y="221"/>
                    <a:pt x="278" y="384"/>
                    <a:pt x="0" y="461"/>
                  </a:cubicBezTo>
                  <a:lnTo>
                    <a:pt x="1812" y="4880"/>
                  </a:lnTo>
                  <a:cubicBezTo>
                    <a:pt x="1975" y="5263"/>
                    <a:pt x="2109" y="5656"/>
                    <a:pt x="2214" y="6049"/>
                  </a:cubicBezTo>
                  <a:cubicBezTo>
                    <a:pt x="2404" y="6781"/>
                    <a:pt x="3065" y="7296"/>
                    <a:pt x="3823" y="7296"/>
                  </a:cubicBezTo>
                  <a:cubicBezTo>
                    <a:pt x="3830" y="7296"/>
                    <a:pt x="3837" y="7296"/>
                    <a:pt x="3844" y="7295"/>
                  </a:cubicBezTo>
                  <a:cubicBezTo>
                    <a:pt x="4611" y="7286"/>
                    <a:pt x="5263" y="6759"/>
                    <a:pt x="5445" y="6011"/>
                  </a:cubicBezTo>
                  <a:cubicBezTo>
                    <a:pt x="5717" y="4843"/>
                    <a:pt x="4785" y="3960"/>
                    <a:pt x="3804" y="3960"/>
                  </a:cubicBezTo>
                  <a:cubicBezTo>
                    <a:pt x="3368" y="3960"/>
                    <a:pt x="2923" y="4134"/>
                    <a:pt x="2569" y="4535"/>
                  </a:cubicBezTo>
                  <a:lnTo>
                    <a:pt x="719" y="1"/>
                  </a:lnTo>
                  <a:close/>
                </a:path>
              </a:pathLst>
            </a:custGeom>
            <a:solidFill>
              <a:srgbClr val="D8D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7382;p79">
              <a:extLst>
                <a:ext uri="{FF2B5EF4-FFF2-40B4-BE49-F238E27FC236}">
                  <a16:creationId xmlns:a16="http://schemas.microsoft.com/office/drawing/2014/main" id="{F665C0C9-A372-4E32-B163-E1DC72DED092}"/>
                </a:ext>
              </a:extLst>
            </p:cNvPr>
            <p:cNvSpPr/>
            <p:nvPr/>
          </p:nvSpPr>
          <p:spPr>
            <a:xfrm>
              <a:off x="5033399" y="1662321"/>
              <a:ext cx="25388" cy="27667"/>
            </a:xfrm>
            <a:custGeom>
              <a:avLst/>
              <a:gdLst/>
              <a:ahLst/>
              <a:cxnLst/>
              <a:rect l="l" t="t" r="r" b="b"/>
              <a:pathLst>
                <a:path w="969" h="1056" extrusionOk="0">
                  <a:moveTo>
                    <a:pt x="720" y="1"/>
                  </a:moveTo>
                  <a:cubicBezTo>
                    <a:pt x="528" y="221"/>
                    <a:pt x="279" y="384"/>
                    <a:pt x="1" y="461"/>
                  </a:cubicBezTo>
                  <a:lnTo>
                    <a:pt x="240" y="1055"/>
                  </a:lnTo>
                  <a:cubicBezTo>
                    <a:pt x="518" y="979"/>
                    <a:pt x="777" y="825"/>
                    <a:pt x="969" y="614"/>
                  </a:cubicBezTo>
                  <a:lnTo>
                    <a:pt x="720" y="1"/>
                  </a:lnTo>
                  <a:close/>
                </a:path>
              </a:pathLst>
            </a:custGeom>
            <a:solidFill>
              <a:srgbClr val="C6CE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7383;p79">
              <a:extLst>
                <a:ext uri="{FF2B5EF4-FFF2-40B4-BE49-F238E27FC236}">
                  <a16:creationId xmlns:a16="http://schemas.microsoft.com/office/drawing/2014/main" id="{CD7B09DF-E4AF-409C-A292-FEACFE67E5D8}"/>
                </a:ext>
              </a:extLst>
            </p:cNvPr>
            <p:cNvSpPr/>
            <p:nvPr/>
          </p:nvSpPr>
          <p:spPr>
            <a:xfrm>
              <a:off x="5006780" y="1626427"/>
              <a:ext cx="30680" cy="26279"/>
            </a:xfrm>
            <a:custGeom>
              <a:avLst/>
              <a:gdLst/>
              <a:ahLst/>
              <a:cxnLst/>
              <a:rect l="l" t="t" r="r" b="b"/>
              <a:pathLst>
                <a:path w="1171" h="1003" extrusionOk="0">
                  <a:moveTo>
                    <a:pt x="672" y="0"/>
                  </a:moveTo>
                  <a:cubicBezTo>
                    <a:pt x="221" y="0"/>
                    <a:pt x="1" y="547"/>
                    <a:pt x="317" y="853"/>
                  </a:cubicBezTo>
                  <a:cubicBezTo>
                    <a:pt x="420" y="956"/>
                    <a:pt x="547" y="1003"/>
                    <a:pt x="670" y="1003"/>
                  </a:cubicBezTo>
                  <a:cubicBezTo>
                    <a:pt x="926" y="1003"/>
                    <a:pt x="1170" y="805"/>
                    <a:pt x="1170" y="508"/>
                  </a:cubicBezTo>
                  <a:cubicBezTo>
                    <a:pt x="1170" y="230"/>
                    <a:pt x="950" y="0"/>
                    <a:pt x="672" y="0"/>
                  </a:cubicBezTo>
                  <a:close/>
                </a:path>
              </a:pathLst>
            </a:custGeom>
            <a:solidFill>
              <a:srgbClr val="53687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 name="Google Shape;9843;p80">
            <a:extLst>
              <a:ext uri="{FF2B5EF4-FFF2-40B4-BE49-F238E27FC236}">
                <a16:creationId xmlns:a16="http://schemas.microsoft.com/office/drawing/2014/main" id="{E9A524AF-B285-4E51-AA05-4F9CC22E7D98}"/>
              </a:ext>
            </a:extLst>
          </p:cNvPr>
          <p:cNvGrpSpPr/>
          <p:nvPr/>
        </p:nvGrpSpPr>
        <p:grpSpPr>
          <a:xfrm>
            <a:off x="8385546" y="3007523"/>
            <a:ext cx="546309" cy="458287"/>
            <a:chOff x="7054924" y="3367728"/>
            <a:chExt cx="394583" cy="331007"/>
          </a:xfrm>
        </p:grpSpPr>
        <p:sp>
          <p:nvSpPr>
            <p:cNvPr id="51" name="Google Shape;9844;p80">
              <a:extLst>
                <a:ext uri="{FF2B5EF4-FFF2-40B4-BE49-F238E27FC236}">
                  <a16:creationId xmlns:a16="http://schemas.microsoft.com/office/drawing/2014/main" id="{5D6DF577-6EFF-42D2-9A58-ADEF290E8BF2}"/>
                </a:ext>
              </a:extLst>
            </p:cNvPr>
            <p:cNvSpPr/>
            <p:nvPr/>
          </p:nvSpPr>
          <p:spPr>
            <a:xfrm>
              <a:off x="7054924" y="3367728"/>
              <a:ext cx="394583" cy="331007"/>
            </a:xfrm>
            <a:custGeom>
              <a:avLst/>
              <a:gdLst/>
              <a:ahLst/>
              <a:cxnLst/>
              <a:rect l="l" t="t" r="r" b="b"/>
              <a:pathLst>
                <a:path w="15026" h="12605" extrusionOk="0">
                  <a:moveTo>
                    <a:pt x="728" y="0"/>
                  </a:moveTo>
                  <a:cubicBezTo>
                    <a:pt x="326" y="0"/>
                    <a:pt x="0" y="326"/>
                    <a:pt x="0" y="727"/>
                  </a:cubicBezTo>
                  <a:lnTo>
                    <a:pt x="0" y="11877"/>
                  </a:lnTo>
                  <a:cubicBezTo>
                    <a:pt x="0" y="12279"/>
                    <a:pt x="326" y="12604"/>
                    <a:pt x="728" y="12604"/>
                  </a:cubicBezTo>
                  <a:lnTo>
                    <a:pt x="14298" y="12604"/>
                  </a:lnTo>
                  <a:cubicBezTo>
                    <a:pt x="14700" y="12604"/>
                    <a:pt x="15026" y="12279"/>
                    <a:pt x="15026" y="11877"/>
                  </a:cubicBezTo>
                  <a:lnTo>
                    <a:pt x="15026" y="2182"/>
                  </a:lnTo>
                  <a:cubicBezTo>
                    <a:pt x="15026" y="1780"/>
                    <a:pt x="14700" y="1455"/>
                    <a:pt x="14298" y="1455"/>
                  </a:cubicBezTo>
                  <a:lnTo>
                    <a:pt x="9934" y="1455"/>
                  </a:lnTo>
                  <a:lnTo>
                    <a:pt x="8767" y="287"/>
                  </a:lnTo>
                  <a:cubicBezTo>
                    <a:pt x="8585" y="105"/>
                    <a:pt x="8336" y="0"/>
                    <a:pt x="8078" y="0"/>
                  </a:cubicBezTo>
                  <a:close/>
                </a:path>
              </a:pathLst>
            </a:custGeom>
            <a:solidFill>
              <a:srgbClr val="D2DBE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9845;p80">
              <a:extLst>
                <a:ext uri="{FF2B5EF4-FFF2-40B4-BE49-F238E27FC236}">
                  <a16:creationId xmlns:a16="http://schemas.microsoft.com/office/drawing/2014/main" id="{9F72629E-13E7-4B26-B3C1-08ED1A39B714}"/>
                </a:ext>
              </a:extLst>
            </p:cNvPr>
            <p:cNvSpPr/>
            <p:nvPr/>
          </p:nvSpPr>
          <p:spPr>
            <a:xfrm>
              <a:off x="7156708" y="3450394"/>
              <a:ext cx="191015" cy="191042"/>
            </a:xfrm>
            <a:custGeom>
              <a:avLst/>
              <a:gdLst/>
              <a:ahLst/>
              <a:cxnLst/>
              <a:rect l="l" t="t" r="r" b="b"/>
              <a:pathLst>
                <a:path w="7274" h="7275" extrusionOk="0">
                  <a:moveTo>
                    <a:pt x="3637" y="1"/>
                  </a:moveTo>
                  <a:cubicBezTo>
                    <a:pt x="1627" y="1"/>
                    <a:pt x="0" y="1628"/>
                    <a:pt x="0" y="3637"/>
                  </a:cubicBezTo>
                  <a:cubicBezTo>
                    <a:pt x="0" y="5647"/>
                    <a:pt x="1627" y="7274"/>
                    <a:pt x="3637" y="7274"/>
                  </a:cubicBezTo>
                  <a:cubicBezTo>
                    <a:pt x="5647" y="7274"/>
                    <a:pt x="7274" y="5647"/>
                    <a:pt x="7274" y="3637"/>
                  </a:cubicBezTo>
                  <a:cubicBezTo>
                    <a:pt x="7274" y="1628"/>
                    <a:pt x="5647" y="1"/>
                    <a:pt x="3637" y="1"/>
                  </a:cubicBezTo>
                  <a:close/>
                </a:path>
              </a:pathLst>
            </a:custGeom>
            <a:solidFill>
              <a:srgbClr val="C1CED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9846;p80">
              <a:extLst>
                <a:ext uri="{FF2B5EF4-FFF2-40B4-BE49-F238E27FC236}">
                  <a16:creationId xmlns:a16="http://schemas.microsoft.com/office/drawing/2014/main" id="{2E4012B4-312A-4144-83C6-CE2891161E86}"/>
                </a:ext>
              </a:extLst>
            </p:cNvPr>
            <p:cNvSpPr/>
            <p:nvPr/>
          </p:nvSpPr>
          <p:spPr>
            <a:xfrm>
              <a:off x="7175799" y="3469512"/>
              <a:ext cx="152833" cy="152807"/>
            </a:xfrm>
            <a:custGeom>
              <a:avLst/>
              <a:gdLst/>
              <a:ahLst/>
              <a:cxnLst/>
              <a:rect l="l" t="t" r="r" b="b"/>
              <a:pathLst>
                <a:path w="5820" h="5819" extrusionOk="0">
                  <a:moveTo>
                    <a:pt x="2910" y="0"/>
                  </a:moveTo>
                  <a:cubicBezTo>
                    <a:pt x="1302" y="0"/>
                    <a:pt x="1" y="1302"/>
                    <a:pt x="1" y="2909"/>
                  </a:cubicBezTo>
                  <a:cubicBezTo>
                    <a:pt x="1" y="4517"/>
                    <a:pt x="1302" y="5819"/>
                    <a:pt x="2910" y="5819"/>
                  </a:cubicBezTo>
                  <a:cubicBezTo>
                    <a:pt x="4518" y="5819"/>
                    <a:pt x="5819" y="4517"/>
                    <a:pt x="5819" y="2909"/>
                  </a:cubicBezTo>
                  <a:cubicBezTo>
                    <a:pt x="5819" y="1302"/>
                    <a:pt x="4518" y="0"/>
                    <a:pt x="2910"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9847;p80">
              <a:extLst>
                <a:ext uri="{FF2B5EF4-FFF2-40B4-BE49-F238E27FC236}">
                  <a16:creationId xmlns:a16="http://schemas.microsoft.com/office/drawing/2014/main" id="{84F89CB2-DC7D-4211-99FE-3CBC6D0CCF09}"/>
                </a:ext>
              </a:extLst>
            </p:cNvPr>
            <p:cNvSpPr/>
            <p:nvPr/>
          </p:nvSpPr>
          <p:spPr>
            <a:xfrm>
              <a:off x="7214007" y="3552178"/>
              <a:ext cx="76417" cy="70009"/>
            </a:xfrm>
            <a:custGeom>
              <a:avLst/>
              <a:gdLst/>
              <a:ahLst/>
              <a:cxnLst/>
              <a:rect l="l" t="t" r="r" b="b"/>
              <a:pathLst>
                <a:path w="2910" h="2666" extrusionOk="0">
                  <a:moveTo>
                    <a:pt x="967" y="1"/>
                  </a:moveTo>
                  <a:lnTo>
                    <a:pt x="967" y="489"/>
                  </a:lnTo>
                  <a:cubicBezTo>
                    <a:pt x="967" y="584"/>
                    <a:pt x="919" y="661"/>
                    <a:pt x="833" y="709"/>
                  </a:cubicBezTo>
                  <a:lnTo>
                    <a:pt x="268" y="986"/>
                  </a:lnTo>
                  <a:cubicBezTo>
                    <a:pt x="106" y="1073"/>
                    <a:pt x="0" y="1235"/>
                    <a:pt x="0" y="1427"/>
                  </a:cubicBezTo>
                  <a:lnTo>
                    <a:pt x="0" y="2278"/>
                  </a:lnTo>
                  <a:cubicBezTo>
                    <a:pt x="450" y="2537"/>
                    <a:pt x="953" y="2666"/>
                    <a:pt x="1455" y="2666"/>
                  </a:cubicBezTo>
                  <a:cubicBezTo>
                    <a:pt x="1957" y="2666"/>
                    <a:pt x="2460" y="2537"/>
                    <a:pt x="2910" y="2278"/>
                  </a:cubicBezTo>
                  <a:lnTo>
                    <a:pt x="2910" y="1427"/>
                  </a:lnTo>
                  <a:cubicBezTo>
                    <a:pt x="2910" y="1235"/>
                    <a:pt x="2804" y="1073"/>
                    <a:pt x="2642" y="986"/>
                  </a:cubicBezTo>
                  <a:lnTo>
                    <a:pt x="2077" y="709"/>
                  </a:lnTo>
                  <a:cubicBezTo>
                    <a:pt x="1991" y="661"/>
                    <a:pt x="1943" y="584"/>
                    <a:pt x="1943" y="489"/>
                  </a:cubicBezTo>
                  <a:lnTo>
                    <a:pt x="1943" y="1"/>
                  </a:lnTo>
                  <a:close/>
                </a:path>
              </a:pathLst>
            </a:custGeom>
            <a:solidFill>
              <a:srgbClr val="ACBDC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9848;p80">
              <a:extLst>
                <a:ext uri="{FF2B5EF4-FFF2-40B4-BE49-F238E27FC236}">
                  <a16:creationId xmlns:a16="http://schemas.microsoft.com/office/drawing/2014/main" id="{6488A09A-0386-44C7-BE0A-2BB6D1480DCB}"/>
                </a:ext>
              </a:extLst>
            </p:cNvPr>
            <p:cNvSpPr/>
            <p:nvPr/>
          </p:nvSpPr>
          <p:spPr>
            <a:xfrm>
              <a:off x="7171781" y="3367728"/>
              <a:ext cx="144036" cy="38208"/>
            </a:xfrm>
            <a:custGeom>
              <a:avLst/>
              <a:gdLst/>
              <a:ahLst/>
              <a:cxnLst/>
              <a:rect l="l" t="t" r="r" b="b"/>
              <a:pathLst>
                <a:path w="5485" h="1455" extrusionOk="0">
                  <a:moveTo>
                    <a:pt x="0" y="0"/>
                  </a:moveTo>
                  <a:cubicBezTo>
                    <a:pt x="259" y="0"/>
                    <a:pt x="498" y="105"/>
                    <a:pt x="680" y="287"/>
                  </a:cubicBezTo>
                  <a:lnTo>
                    <a:pt x="1637" y="1244"/>
                  </a:lnTo>
                  <a:cubicBezTo>
                    <a:pt x="1781" y="1378"/>
                    <a:pt x="1962" y="1455"/>
                    <a:pt x="2154" y="1455"/>
                  </a:cubicBezTo>
                  <a:lnTo>
                    <a:pt x="5484" y="1455"/>
                  </a:lnTo>
                  <a:lnTo>
                    <a:pt x="4317" y="287"/>
                  </a:lnTo>
                  <a:cubicBezTo>
                    <a:pt x="4135" y="105"/>
                    <a:pt x="3886" y="0"/>
                    <a:pt x="3628" y="0"/>
                  </a:cubicBezTo>
                  <a:close/>
                </a:path>
              </a:pathLst>
            </a:custGeom>
            <a:solidFill>
              <a:srgbClr val="C1CED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9849;p80">
              <a:extLst>
                <a:ext uri="{FF2B5EF4-FFF2-40B4-BE49-F238E27FC236}">
                  <a16:creationId xmlns:a16="http://schemas.microsoft.com/office/drawing/2014/main" id="{CA110ED5-A75F-449F-8BED-0AC462A9FE4B}"/>
                </a:ext>
              </a:extLst>
            </p:cNvPr>
            <p:cNvSpPr/>
            <p:nvPr/>
          </p:nvSpPr>
          <p:spPr>
            <a:xfrm>
              <a:off x="7220546" y="3367728"/>
              <a:ext cx="95508" cy="38208"/>
            </a:xfrm>
            <a:custGeom>
              <a:avLst/>
              <a:gdLst/>
              <a:ahLst/>
              <a:cxnLst/>
              <a:rect l="l" t="t" r="r" b="b"/>
              <a:pathLst>
                <a:path w="3637" h="1455" extrusionOk="0">
                  <a:moveTo>
                    <a:pt x="0" y="0"/>
                  </a:moveTo>
                  <a:cubicBezTo>
                    <a:pt x="258" y="0"/>
                    <a:pt x="507" y="105"/>
                    <a:pt x="689" y="287"/>
                  </a:cubicBezTo>
                  <a:lnTo>
                    <a:pt x="1646" y="1244"/>
                  </a:lnTo>
                  <a:cubicBezTo>
                    <a:pt x="1780" y="1378"/>
                    <a:pt x="1962" y="1455"/>
                    <a:pt x="2153" y="1455"/>
                  </a:cubicBezTo>
                  <a:lnTo>
                    <a:pt x="3637" y="1455"/>
                  </a:lnTo>
                  <a:lnTo>
                    <a:pt x="2469" y="287"/>
                  </a:lnTo>
                  <a:cubicBezTo>
                    <a:pt x="2287" y="105"/>
                    <a:pt x="2039" y="0"/>
                    <a:pt x="1780" y="0"/>
                  </a:cubicBezTo>
                  <a:close/>
                </a:path>
              </a:pathLst>
            </a:custGeom>
            <a:solidFill>
              <a:srgbClr val="ADBEC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9850;p80">
              <a:extLst>
                <a:ext uri="{FF2B5EF4-FFF2-40B4-BE49-F238E27FC236}">
                  <a16:creationId xmlns:a16="http://schemas.microsoft.com/office/drawing/2014/main" id="{25B44A69-5806-4702-BD77-FC9F254CF6FE}"/>
                </a:ext>
              </a:extLst>
            </p:cNvPr>
            <p:cNvSpPr/>
            <p:nvPr/>
          </p:nvSpPr>
          <p:spPr>
            <a:xfrm>
              <a:off x="7054924" y="3666777"/>
              <a:ext cx="394583" cy="31958"/>
            </a:xfrm>
            <a:custGeom>
              <a:avLst/>
              <a:gdLst/>
              <a:ahLst/>
              <a:cxnLst/>
              <a:rect l="l" t="t" r="r" b="b"/>
              <a:pathLst>
                <a:path w="15026" h="1217" extrusionOk="0">
                  <a:moveTo>
                    <a:pt x="0" y="1"/>
                  </a:moveTo>
                  <a:lnTo>
                    <a:pt x="0" y="489"/>
                  </a:lnTo>
                  <a:cubicBezTo>
                    <a:pt x="0" y="891"/>
                    <a:pt x="326" y="1216"/>
                    <a:pt x="728" y="1216"/>
                  </a:cubicBezTo>
                  <a:lnTo>
                    <a:pt x="14298" y="1216"/>
                  </a:lnTo>
                  <a:cubicBezTo>
                    <a:pt x="14700" y="1216"/>
                    <a:pt x="15026" y="891"/>
                    <a:pt x="15026" y="489"/>
                  </a:cubicBezTo>
                  <a:lnTo>
                    <a:pt x="15026" y="1"/>
                  </a:lnTo>
                  <a:close/>
                </a:path>
              </a:pathLst>
            </a:custGeom>
            <a:solidFill>
              <a:srgbClr val="C1CED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9851;p80">
              <a:extLst>
                <a:ext uri="{FF2B5EF4-FFF2-40B4-BE49-F238E27FC236}">
                  <a16:creationId xmlns:a16="http://schemas.microsoft.com/office/drawing/2014/main" id="{18FAD5CB-5AC4-4F0B-8B1E-131C37C5B2A1}"/>
                </a:ext>
              </a:extLst>
            </p:cNvPr>
            <p:cNvSpPr/>
            <p:nvPr/>
          </p:nvSpPr>
          <p:spPr>
            <a:xfrm>
              <a:off x="7214007" y="3572293"/>
              <a:ext cx="76417" cy="49894"/>
            </a:xfrm>
            <a:custGeom>
              <a:avLst/>
              <a:gdLst/>
              <a:ahLst/>
              <a:cxnLst/>
              <a:rect l="l" t="t" r="r" b="b"/>
              <a:pathLst>
                <a:path w="2910" h="1900" extrusionOk="0">
                  <a:moveTo>
                    <a:pt x="708" y="0"/>
                  </a:moveTo>
                  <a:lnTo>
                    <a:pt x="268" y="220"/>
                  </a:lnTo>
                  <a:cubicBezTo>
                    <a:pt x="106" y="307"/>
                    <a:pt x="0" y="469"/>
                    <a:pt x="0" y="661"/>
                  </a:cubicBezTo>
                  <a:lnTo>
                    <a:pt x="0" y="1512"/>
                  </a:lnTo>
                  <a:cubicBezTo>
                    <a:pt x="450" y="1771"/>
                    <a:pt x="953" y="1900"/>
                    <a:pt x="1455" y="1900"/>
                  </a:cubicBezTo>
                  <a:cubicBezTo>
                    <a:pt x="1957" y="1900"/>
                    <a:pt x="2460" y="1771"/>
                    <a:pt x="2910" y="1512"/>
                  </a:cubicBezTo>
                  <a:lnTo>
                    <a:pt x="2910" y="661"/>
                  </a:lnTo>
                  <a:cubicBezTo>
                    <a:pt x="2910" y="469"/>
                    <a:pt x="2804" y="307"/>
                    <a:pt x="2642" y="220"/>
                  </a:cubicBezTo>
                  <a:lnTo>
                    <a:pt x="2201" y="0"/>
                  </a:lnTo>
                  <a:cubicBezTo>
                    <a:pt x="2010" y="240"/>
                    <a:pt x="1732" y="359"/>
                    <a:pt x="1455" y="359"/>
                  </a:cubicBezTo>
                  <a:cubicBezTo>
                    <a:pt x="1177" y="359"/>
                    <a:pt x="900" y="240"/>
                    <a:pt x="708" y="0"/>
                  </a:cubicBezTo>
                  <a:close/>
                </a:path>
              </a:pathLst>
            </a:custGeom>
            <a:solidFill>
              <a:srgbClr val="6376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9852;p80">
              <a:extLst>
                <a:ext uri="{FF2B5EF4-FFF2-40B4-BE49-F238E27FC236}">
                  <a16:creationId xmlns:a16="http://schemas.microsoft.com/office/drawing/2014/main" id="{B33500F3-2CB3-4634-B9C1-1794EA1B50AD}"/>
                </a:ext>
              </a:extLst>
            </p:cNvPr>
            <p:cNvSpPr/>
            <p:nvPr/>
          </p:nvSpPr>
          <p:spPr>
            <a:xfrm>
              <a:off x="7238140" y="3552178"/>
              <a:ext cx="27914" cy="19249"/>
            </a:xfrm>
            <a:custGeom>
              <a:avLst/>
              <a:gdLst/>
              <a:ahLst/>
              <a:cxnLst/>
              <a:rect l="l" t="t" r="r" b="b"/>
              <a:pathLst>
                <a:path w="1063" h="733" extrusionOk="0">
                  <a:moveTo>
                    <a:pt x="48" y="1"/>
                  </a:moveTo>
                  <a:lnTo>
                    <a:pt x="48" y="489"/>
                  </a:lnTo>
                  <a:cubicBezTo>
                    <a:pt x="48" y="537"/>
                    <a:pt x="29" y="584"/>
                    <a:pt x="0" y="632"/>
                  </a:cubicBezTo>
                  <a:cubicBezTo>
                    <a:pt x="172" y="699"/>
                    <a:pt x="354" y="733"/>
                    <a:pt x="535" y="733"/>
                  </a:cubicBezTo>
                  <a:cubicBezTo>
                    <a:pt x="715" y="733"/>
                    <a:pt x="895" y="699"/>
                    <a:pt x="1062" y="632"/>
                  </a:cubicBezTo>
                  <a:cubicBezTo>
                    <a:pt x="1034" y="584"/>
                    <a:pt x="1014" y="537"/>
                    <a:pt x="1014" y="489"/>
                  </a:cubicBezTo>
                  <a:lnTo>
                    <a:pt x="1014" y="1"/>
                  </a:lnTo>
                  <a:close/>
                </a:path>
              </a:pathLst>
            </a:custGeom>
            <a:solidFill>
              <a:srgbClr val="96ABB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9853;p80">
              <a:extLst>
                <a:ext uri="{FF2B5EF4-FFF2-40B4-BE49-F238E27FC236}">
                  <a16:creationId xmlns:a16="http://schemas.microsoft.com/office/drawing/2014/main" id="{6BA1F1B4-067B-478D-9182-20A0A665E8C9}"/>
                </a:ext>
              </a:extLst>
            </p:cNvPr>
            <p:cNvSpPr/>
            <p:nvPr/>
          </p:nvSpPr>
          <p:spPr>
            <a:xfrm>
              <a:off x="7226822" y="3501418"/>
              <a:ext cx="51049" cy="57326"/>
            </a:xfrm>
            <a:custGeom>
              <a:avLst/>
              <a:gdLst/>
              <a:ahLst/>
              <a:cxnLst/>
              <a:rect l="l" t="t" r="r" b="b"/>
              <a:pathLst>
                <a:path w="1944" h="2183" extrusionOk="0">
                  <a:moveTo>
                    <a:pt x="728" y="1"/>
                  </a:moveTo>
                  <a:cubicBezTo>
                    <a:pt x="326" y="1"/>
                    <a:pt x="0" y="326"/>
                    <a:pt x="0" y="728"/>
                  </a:cubicBezTo>
                  <a:lnTo>
                    <a:pt x="0" y="1206"/>
                  </a:lnTo>
                  <a:cubicBezTo>
                    <a:pt x="0" y="1742"/>
                    <a:pt x="431" y="2183"/>
                    <a:pt x="967" y="2183"/>
                  </a:cubicBezTo>
                  <a:cubicBezTo>
                    <a:pt x="1503" y="2183"/>
                    <a:pt x="1943" y="1742"/>
                    <a:pt x="1934" y="1206"/>
                  </a:cubicBezTo>
                  <a:lnTo>
                    <a:pt x="1934" y="728"/>
                  </a:lnTo>
                  <a:cubicBezTo>
                    <a:pt x="1934" y="326"/>
                    <a:pt x="1608" y="1"/>
                    <a:pt x="1216" y="1"/>
                  </a:cubicBezTo>
                  <a:close/>
                </a:path>
              </a:pathLst>
            </a:custGeom>
            <a:solidFill>
              <a:srgbClr val="BECBD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9854;p80">
              <a:extLst>
                <a:ext uri="{FF2B5EF4-FFF2-40B4-BE49-F238E27FC236}">
                  <a16:creationId xmlns:a16="http://schemas.microsoft.com/office/drawing/2014/main" id="{D5D3974E-0E04-49C0-8F35-18D9485DB161}"/>
                </a:ext>
              </a:extLst>
            </p:cNvPr>
            <p:cNvSpPr/>
            <p:nvPr/>
          </p:nvSpPr>
          <p:spPr>
            <a:xfrm>
              <a:off x="7226822" y="3501418"/>
              <a:ext cx="34952" cy="57194"/>
            </a:xfrm>
            <a:custGeom>
              <a:avLst/>
              <a:gdLst/>
              <a:ahLst/>
              <a:cxnLst/>
              <a:rect l="l" t="t" r="r" b="b"/>
              <a:pathLst>
                <a:path w="1331" h="2178" extrusionOk="0">
                  <a:moveTo>
                    <a:pt x="728" y="1"/>
                  </a:moveTo>
                  <a:cubicBezTo>
                    <a:pt x="326" y="1"/>
                    <a:pt x="0" y="326"/>
                    <a:pt x="0" y="728"/>
                  </a:cubicBezTo>
                  <a:lnTo>
                    <a:pt x="0" y="1206"/>
                  </a:lnTo>
                  <a:cubicBezTo>
                    <a:pt x="0" y="1764"/>
                    <a:pt x="458" y="2178"/>
                    <a:pt x="968" y="2178"/>
                  </a:cubicBezTo>
                  <a:cubicBezTo>
                    <a:pt x="1088" y="2178"/>
                    <a:pt x="1210" y="2155"/>
                    <a:pt x="1331" y="2106"/>
                  </a:cubicBezTo>
                  <a:cubicBezTo>
                    <a:pt x="967" y="1962"/>
                    <a:pt x="728" y="1608"/>
                    <a:pt x="728" y="1206"/>
                  </a:cubicBezTo>
                  <a:lnTo>
                    <a:pt x="728" y="728"/>
                  </a:lnTo>
                  <a:cubicBezTo>
                    <a:pt x="728" y="374"/>
                    <a:pt x="986" y="67"/>
                    <a:pt x="1331" y="10"/>
                  </a:cubicBezTo>
                  <a:cubicBezTo>
                    <a:pt x="1292" y="1"/>
                    <a:pt x="1254" y="1"/>
                    <a:pt x="1216" y="1"/>
                  </a:cubicBezTo>
                  <a:close/>
                </a:path>
              </a:pathLst>
            </a:custGeom>
            <a:solidFill>
              <a:srgbClr val="ACBDC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9855;p80">
              <a:extLst>
                <a:ext uri="{FF2B5EF4-FFF2-40B4-BE49-F238E27FC236}">
                  <a16:creationId xmlns:a16="http://schemas.microsoft.com/office/drawing/2014/main" id="{B0E3EB78-558A-40CD-9521-DE07AE899574}"/>
                </a:ext>
              </a:extLst>
            </p:cNvPr>
            <p:cNvSpPr/>
            <p:nvPr/>
          </p:nvSpPr>
          <p:spPr>
            <a:xfrm>
              <a:off x="7226822" y="3501418"/>
              <a:ext cx="51049" cy="25420"/>
            </a:xfrm>
            <a:custGeom>
              <a:avLst/>
              <a:gdLst/>
              <a:ahLst/>
              <a:cxnLst/>
              <a:rect l="l" t="t" r="r" b="b"/>
              <a:pathLst>
                <a:path w="1944" h="968" extrusionOk="0">
                  <a:moveTo>
                    <a:pt x="728" y="1"/>
                  </a:moveTo>
                  <a:cubicBezTo>
                    <a:pt x="326" y="1"/>
                    <a:pt x="0" y="326"/>
                    <a:pt x="0" y="728"/>
                  </a:cubicBezTo>
                  <a:cubicBezTo>
                    <a:pt x="0" y="728"/>
                    <a:pt x="728" y="967"/>
                    <a:pt x="1943" y="967"/>
                  </a:cubicBezTo>
                  <a:lnTo>
                    <a:pt x="1943" y="728"/>
                  </a:lnTo>
                  <a:cubicBezTo>
                    <a:pt x="1943" y="326"/>
                    <a:pt x="1608" y="1"/>
                    <a:pt x="12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9856;p80">
              <a:extLst>
                <a:ext uri="{FF2B5EF4-FFF2-40B4-BE49-F238E27FC236}">
                  <a16:creationId xmlns:a16="http://schemas.microsoft.com/office/drawing/2014/main" id="{54ED2BE3-B05C-4A97-A43A-63ABE0B66DD4}"/>
                </a:ext>
              </a:extLst>
            </p:cNvPr>
            <p:cNvSpPr/>
            <p:nvPr/>
          </p:nvSpPr>
          <p:spPr>
            <a:xfrm>
              <a:off x="7226822" y="3501155"/>
              <a:ext cx="34952" cy="23398"/>
            </a:xfrm>
            <a:custGeom>
              <a:avLst/>
              <a:gdLst/>
              <a:ahLst/>
              <a:cxnLst/>
              <a:rect l="l" t="t" r="r" b="b"/>
              <a:pathLst>
                <a:path w="1331" h="891" extrusionOk="0">
                  <a:moveTo>
                    <a:pt x="728" y="1"/>
                  </a:moveTo>
                  <a:cubicBezTo>
                    <a:pt x="326" y="1"/>
                    <a:pt x="0" y="336"/>
                    <a:pt x="0" y="738"/>
                  </a:cubicBezTo>
                  <a:cubicBezTo>
                    <a:pt x="240" y="805"/>
                    <a:pt x="479" y="853"/>
                    <a:pt x="728" y="891"/>
                  </a:cubicBezTo>
                  <a:lnTo>
                    <a:pt x="728" y="738"/>
                  </a:lnTo>
                  <a:cubicBezTo>
                    <a:pt x="728" y="384"/>
                    <a:pt x="986" y="77"/>
                    <a:pt x="1331" y="20"/>
                  </a:cubicBezTo>
                  <a:cubicBezTo>
                    <a:pt x="1292" y="11"/>
                    <a:pt x="1254" y="11"/>
                    <a:pt x="12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9857;p80">
              <a:extLst>
                <a:ext uri="{FF2B5EF4-FFF2-40B4-BE49-F238E27FC236}">
                  <a16:creationId xmlns:a16="http://schemas.microsoft.com/office/drawing/2014/main" id="{2F051BBA-FD10-466F-AB80-7DA686B29005}"/>
                </a:ext>
              </a:extLst>
            </p:cNvPr>
            <p:cNvSpPr/>
            <p:nvPr/>
          </p:nvSpPr>
          <p:spPr>
            <a:xfrm>
              <a:off x="7214007" y="3583585"/>
              <a:ext cx="19117" cy="36239"/>
            </a:xfrm>
            <a:custGeom>
              <a:avLst/>
              <a:gdLst/>
              <a:ahLst/>
              <a:cxnLst/>
              <a:rect l="l" t="t" r="r" b="b"/>
              <a:pathLst>
                <a:path w="728" h="1380" extrusionOk="0">
                  <a:moveTo>
                    <a:pt x="58" y="1"/>
                  </a:moveTo>
                  <a:cubicBezTo>
                    <a:pt x="19" y="68"/>
                    <a:pt x="0" y="145"/>
                    <a:pt x="0" y="221"/>
                  </a:cubicBezTo>
                  <a:lnTo>
                    <a:pt x="0" y="1082"/>
                  </a:lnTo>
                  <a:cubicBezTo>
                    <a:pt x="230" y="1207"/>
                    <a:pt x="469" y="1312"/>
                    <a:pt x="728" y="1379"/>
                  </a:cubicBezTo>
                  <a:lnTo>
                    <a:pt x="728" y="747"/>
                  </a:lnTo>
                  <a:cubicBezTo>
                    <a:pt x="728" y="594"/>
                    <a:pt x="651" y="451"/>
                    <a:pt x="536" y="355"/>
                  </a:cubicBezTo>
                  <a:lnTo>
                    <a:pt x="58" y="1"/>
                  </a:lnTo>
                  <a:close/>
                </a:path>
              </a:pathLst>
            </a:custGeom>
            <a:solidFill>
              <a:srgbClr val="3049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9858;p80">
              <a:extLst>
                <a:ext uri="{FF2B5EF4-FFF2-40B4-BE49-F238E27FC236}">
                  <a16:creationId xmlns:a16="http://schemas.microsoft.com/office/drawing/2014/main" id="{48E94340-F42A-42C2-B3F9-A7E601B45D7C}"/>
                </a:ext>
              </a:extLst>
            </p:cNvPr>
            <p:cNvSpPr/>
            <p:nvPr/>
          </p:nvSpPr>
          <p:spPr>
            <a:xfrm>
              <a:off x="7271306" y="3583585"/>
              <a:ext cx="19117" cy="36239"/>
            </a:xfrm>
            <a:custGeom>
              <a:avLst/>
              <a:gdLst/>
              <a:ahLst/>
              <a:cxnLst/>
              <a:rect l="l" t="t" r="r" b="b"/>
              <a:pathLst>
                <a:path w="728" h="1380" extrusionOk="0">
                  <a:moveTo>
                    <a:pt x="670" y="1"/>
                  </a:moveTo>
                  <a:lnTo>
                    <a:pt x="192" y="355"/>
                  </a:lnTo>
                  <a:cubicBezTo>
                    <a:pt x="77" y="451"/>
                    <a:pt x="0" y="594"/>
                    <a:pt x="0" y="747"/>
                  </a:cubicBezTo>
                  <a:lnTo>
                    <a:pt x="0" y="1379"/>
                  </a:lnTo>
                  <a:cubicBezTo>
                    <a:pt x="259" y="1312"/>
                    <a:pt x="498" y="1216"/>
                    <a:pt x="728" y="1082"/>
                  </a:cubicBezTo>
                  <a:lnTo>
                    <a:pt x="728" y="231"/>
                  </a:lnTo>
                  <a:cubicBezTo>
                    <a:pt x="728" y="145"/>
                    <a:pt x="709" y="68"/>
                    <a:pt x="670" y="1"/>
                  </a:cubicBezTo>
                  <a:close/>
                </a:path>
              </a:pathLst>
            </a:custGeom>
            <a:solidFill>
              <a:srgbClr val="3049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227E1A4A-5AB5-4F99-B326-712A7F1698DB&quot;,&quot;SourceFullName&quot;:&quot;https://www.youtube.com/embed/ssSJ-RNDk9g?feature=oembed&quot;,&quot;LastUpdate&quot;:&quot;2021-05-24 2:43 PM&quot;,&quot;UpdatedBy&quot;:&quot;Lena&quot;,&quot;IsLinked&quot;:false,&quot;IsBrokenLink&quot;:false}"/>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6AA61903-E41D-44AC-A086-55E7D146A870&quot;,&quot;SourceFullName&quot;:&quot;https://www.youtube.com/embed/DyqjTZHRdRs?feature=oembed&quot;,&quot;LastUpdate&quot;:&quot;2021-05-23 9:33 PM&quot;,&quot;UpdatedBy&quot;:&quot;Lena&quot;,&quot;IsLinked&quot;:false,&quot;IsBrokenLink&quot;:false}"/>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4B3A8A85-40BF-49BF-8818-F1AFEA6C3466&quot;,&quot;SourceFullName&quot;:&quot;https://www.youtube.com/embed/5eu_KjKsnpM?start=124&amp;feature=oembed&quot;,&quot;LastUpdate&quot;:&quot;2021-05-23 9:47 PM&quot;,&quot;UpdatedBy&quot;:&quot;Lena&quot;,&quot;IsLinked&quot;:false,&quot;IsBrokenLink&quot;:false}"/>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75AFB6AE-C431-4503-B33F-DFBC9340A80E&quot;,&quot;SourceFullName&quot;:&quot;https://www.youtube.com/embed/1unkluyh2Ks?feature=oembed&quot;,&quot;LastUpdate&quot;:&quot;2021-05-23 9:30 PM&quot;,&quot;UpdatedBy&quot;:&quot;Lena&quot;,&quot;IsLinked&quot;:false,&quot;IsBrokenLink&quot;:false}"/>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DBFD7A1C-1086-464E-BE4C-8B2DFFA98605&quot;,&quot;SourceFullName&quot;:&quot;https://www.youtube.com/embed/TPqCKMTDCVs?feature=oembed&quot;,&quot;LastUpdate&quot;:&quot;2021-05-23 10:02 PM&quot;,&quot;UpdatedBy&quot;:&quot;Lena&quot;,&quot;IsLinked&quot;:false,&quot;IsBrokenLink&quot;:false}"/>
</p:tagLst>
</file>

<file path=ppt/tags/tag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48E520F9-8D7A-4F40-A086-C8E9DCE3CDFA&quot;,&quot;SourceFullName&quot;:&quot;https://www.youtube.com/embed/WrIwfImLXOA?feature=oembed&quot;,&quot;LastUpdate&quot;:&quot;2021-05-23 10:38 PM&quot;,&quot;UpdatedBy&quot;:&quot;Lena&quot;,&quot;IsLinked&quot;:false,&quot;IsBrokenLink&quot;:false}"/>
</p:tagLst>
</file>

<file path=ppt/tags/tag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A6D1A729-9C25-417D-B478-C00E6EE150C7&quot;,&quot;SourceFullName&quot;:&quot;https://www.youtube.com/embed/ACN3dw-ywAU?feature=oembed&quot;,&quot;LastUpdate&quot;:&quot;2021-05-23 10:49 PM&quot;,&quot;UpdatedBy&quot;:&quot;Lena&quot;,&quot;IsLinked&quot;:false,&quot;IsBrokenLink&quot;:false}"/>
</p:tagLst>
</file>

<file path=ppt/tags/tag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E0C9BCE5-2EE1-412B-9D7C-C55628BD1485&quot;,&quot;SourceFullName&quot;:&quot;https://www.youtube.com/embed/rYFB7_0MvHo?feature=oembed&quot;,&quot;LastUpdate&quot;:&quot;2021-05-23 11:00 PM&quot;,&quot;UpdatedBy&quot;:&quot;Lena&quot;,&quot;IsLinked&quot;:false,&quot;IsBrokenLink&quot;:false}"/>
</p:tagLst>
</file>

<file path=ppt/tags/tag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DB55414A-2125-4BC1-AC30-248484A24D25&quot;,&quot;SourceFullName&quot;:&quot;https://www.youtube.com/embed/u8d4xIgLKl8?feature=oembed&quot;,&quot;LastUpdate&quot;:&quot;2021-05-24 5:55 PM&quot;,&quot;UpdatedBy&quot;:&quot;Lena&quot;,&quot;IsLinked&quot;:false,&quot;IsBrokenLink&quot;:false}"/>
</p:tagLst>
</file>

<file path=ppt/theme/theme1.xml><?xml version="1.0" encoding="utf-8"?>
<a:theme xmlns:a="http://schemas.openxmlformats.org/drawingml/2006/main" name="Vintage VHS Style Lesson by Slidesgo">
  <a:themeElements>
    <a:clrScheme name="Simple Light">
      <a:dk1>
        <a:srgbClr val="0C1521"/>
      </a:dk1>
      <a:lt1>
        <a:srgbClr val="EAE5C4"/>
      </a:lt1>
      <a:dk2>
        <a:srgbClr val="0C1521"/>
      </a:dk2>
      <a:lt2>
        <a:srgbClr val="D7D4BE"/>
      </a:lt2>
      <a:accent1>
        <a:srgbClr val="E0C32E"/>
      </a:accent1>
      <a:accent2>
        <a:srgbClr val="DB450E"/>
      </a:accent2>
      <a:accent3>
        <a:srgbClr val="C81B19"/>
      </a:accent3>
      <a:accent4>
        <a:srgbClr val="9B1135"/>
      </a:accent4>
      <a:accent5>
        <a:srgbClr val="71173D"/>
      </a:accent5>
      <a:accent6>
        <a:srgbClr val="380B1E"/>
      </a:accent6>
      <a:hlink>
        <a:srgbClr val="EAE5C4"/>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33</TotalTime>
  <Words>759</Words>
  <Application>Microsoft Office PowerPoint</Application>
  <PresentationFormat>On-screen Show (16:9)</PresentationFormat>
  <Paragraphs>95</Paragraphs>
  <Slides>18</Slides>
  <Notes>18</Notes>
  <HiddenSlides>0</HiddenSlides>
  <MMClips>9</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8</vt:i4>
      </vt:variant>
    </vt:vector>
  </HeadingPairs>
  <TitlesOfParts>
    <vt:vector size="24" baseType="lpstr">
      <vt:lpstr>Arial</vt:lpstr>
      <vt:lpstr>Archivo Black</vt:lpstr>
      <vt:lpstr>Roboto Black</vt:lpstr>
      <vt:lpstr>Roboto</vt:lpstr>
      <vt:lpstr>Libre Baskerville</vt:lpstr>
      <vt:lpstr>Vintage VHS Style Lesson by Slidesgo</vt:lpstr>
      <vt:lpstr>SHOOT TO EDIT</vt:lpstr>
      <vt:lpstr>THE EDITOR…</vt:lpstr>
      <vt:lpstr>FRAME RATE </vt:lpstr>
      <vt:lpstr>FRAME RATE </vt:lpstr>
      <vt:lpstr>INTERLACING</vt:lpstr>
      <vt:lpstr>RESOLUTION</vt:lpstr>
      <vt:lpstr>premiere</vt:lpstr>
      <vt:lpstr>PowerPoint Presentation</vt:lpstr>
      <vt:lpstr>ORGANIZE ORGANIZE ORGANIZE</vt:lpstr>
      <vt:lpstr>P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OOT TO EDIT</dc:title>
  <dc:creator>Lena</dc:creator>
  <cp:lastModifiedBy>Lena</cp:lastModifiedBy>
  <cp:revision>26</cp:revision>
  <dcterms:modified xsi:type="dcterms:W3CDTF">2021-05-24T15:01:21Z</dcterms:modified>
</cp:coreProperties>
</file>